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7"/>
  </p:notesMasterIdLst>
  <p:sldIdLst>
    <p:sldId id="309" r:id="rId2"/>
    <p:sldId id="310" r:id="rId3"/>
    <p:sldId id="308" r:id="rId4"/>
    <p:sldId id="284" r:id="rId5"/>
    <p:sldId id="285" r:id="rId6"/>
    <p:sldId id="286" r:id="rId7"/>
    <p:sldId id="315" r:id="rId8"/>
    <p:sldId id="287" r:id="rId9"/>
    <p:sldId id="288" r:id="rId10"/>
    <p:sldId id="257" r:id="rId11"/>
    <p:sldId id="290" r:id="rId12"/>
    <p:sldId id="386" r:id="rId13"/>
    <p:sldId id="258" r:id="rId14"/>
    <p:sldId id="259" r:id="rId15"/>
    <p:sldId id="260" r:id="rId16"/>
    <p:sldId id="261" r:id="rId17"/>
    <p:sldId id="263" r:id="rId18"/>
    <p:sldId id="262" r:id="rId19"/>
    <p:sldId id="264" r:id="rId20"/>
    <p:sldId id="265" r:id="rId21"/>
    <p:sldId id="320" r:id="rId22"/>
    <p:sldId id="319" r:id="rId23"/>
    <p:sldId id="321" r:id="rId24"/>
    <p:sldId id="270" r:id="rId25"/>
    <p:sldId id="271" r:id="rId26"/>
    <p:sldId id="272" r:id="rId27"/>
    <p:sldId id="273" r:id="rId28"/>
    <p:sldId id="296" r:id="rId29"/>
    <p:sldId id="388" r:id="rId30"/>
    <p:sldId id="389" r:id="rId31"/>
    <p:sldId id="390" r:id="rId32"/>
    <p:sldId id="391" r:id="rId33"/>
    <p:sldId id="323" r:id="rId34"/>
    <p:sldId id="324" r:id="rId35"/>
    <p:sldId id="392" r:id="rId36"/>
    <p:sldId id="325" r:id="rId37"/>
    <p:sldId id="393" r:id="rId38"/>
    <p:sldId id="327" r:id="rId39"/>
    <p:sldId id="297" r:id="rId40"/>
    <p:sldId id="298" r:id="rId41"/>
    <p:sldId id="307" r:id="rId42"/>
    <p:sldId id="304" r:id="rId43"/>
    <p:sldId id="306" r:id="rId44"/>
    <p:sldId id="312" r:id="rId45"/>
    <p:sldId id="311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D18E"/>
    <a:srgbClr val="FFFF00"/>
    <a:srgbClr val="FFC000"/>
    <a:srgbClr val="FF0000"/>
    <a:srgbClr val="C00000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2" autoAdjust="0"/>
    <p:restoredTop sz="86951" autoAdjust="0"/>
  </p:normalViewPr>
  <p:slideViewPr>
    <p:cSldViewPr snapToGrid="0" snapToObjects="1">
      <p:cViewPr varScale="1">
        <p:scale>
          <a:sx n="105" d="100"/>
          <a:sy n="105" d="100"/>
        </p:scale>
        <p:origin x="592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20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0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2000"/>
            <a:t>Recycling</a:t>
          </a:r>
          <a:endParaRPr lang="en-US" sz="20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/>
            <a:t>Energy recovery</a:t>
          </a:r>
          <a:endParaRPr lang="en-US" sz="20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20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/>
        </a:p>
      </dgm:t>
    </dgm:pt>
    <dgm:pt modelId="{487C6DDB-16EA-8048-89A6-EBE7F5139E87}">
      <dgm:prSet phldrT="[Text]"/>
      <dgm:spPr>
        <a:solidFill>
          <a:schemeClr val="accent6"/>
        </a:solidFill>
      </dgm:spPr>
      <dgm:t>
        <a:bodyPr/>
        <a:lstStyle/>
        <a:p>
          <a:endParaRPr lang="en-US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225D632-6F84-C446-ABE1-22101DA8FCEC}" type="presOf" srcId="{7B85411E-E25C-6F42-91E4-53D6A772A7AE}" destId="{E4AD5763-DCE8-8646-9423-0796D183EB64}" srcOrd="0" destOrd="0" presId="urn:microsoft.com/office/officeart/2005/8/layout/pyramid1"/>
    <dgm:cxn modelId="{D925753D-07D3-E64F-837B-27A7E849106E}" type="presOf" srcId="{487C6DDB-16EA-8048-89A6-EBE7F5139E87}" destId="{6C68EA97-559F-5B4C-BAEF-7523CDE8859F}" srcOrd="1" destOrd="0" presId="urn:microsoft.com/office/officeart/2005/8/layout/pyramid1"/>
    <dgm:cxn modelId="{8D7B9641-3008-5145-9316-8BA398CF2DB3}" type="presOf" srcId="{761DA577-FE2E-1D4B-90D0-641EE07F9D88}" destId="{3E34D7F9-55F3-AE4B-82A2-173B2B147DA6}" srcOrd="1" destOrd="0" presId="urn:microsoft.com/office/officeart/2005/8/layout/pyramid1"/>
    <dgm:cxn modelId="{2425DA43-E55A-8D4E-B178-D82D6DBC63EA}" type="presOf" srcId="{17F7B346-7E44-884B-B208-34553535058F}" destId="{E0640EEF-CCD0-A143-B7C0-98B8459BB784}" srcOrd="0" destOrd="0" presId="urn:microsoft.com/office/officeart/2005/8/layout/pyramid1"/>
    <dgm:cxn modelId="{E311BA49-721A-F448-AA5A-C7ADB2E9CF33}" type="presOf" srcId="{13EE726E-487B-BC42-956A-027D42CABA5C}" destId="{FA4DB1DE-A406-3B45-877A-D855E498BDD6}" srcOrd="1" destOrd="0" presId="urn:microsoft.com/office/officeart/2005/8/layout/pyramid1"/>
    <dgm:cxn modelId="{E2412A5B-50B9-2240-BA99-AF7B4A36FC96}" type="presOf" srcId="{9070CC88-EB24-E342-9919-2FCA608334E5}" destId="{7D0C00B8-FBB5-E542-BB8C-D7C0963864DD}" srcOrd="0" destOrd="0" presId="urn:microsoft.com/office/officeart/2005/8/layout/pyramid1"/>
    <dgm:cxn modelId="{CDF1C7A0-FB09-BC41-A93F-06095DA71800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1DF11B9-28BD-8444-BC6B-0860BF508713}" type="presOf" srcId="{9070CC88-EB24-E342-9919-2FCA608334E5}" destId="{7F1E56D0-FCE2-0E43-AE50-B92A1C2A4023}" srcOrd="1" destOrd="0" presId="urn:microsoft.com/office/officeart/2005/8/layout/pyramid1"/>
    <dgm:cxn modelId="{057EE2BA-FABE-B544-8988-EEBB0153F960}" type="presOf" srcId="{13EE726E-487B-BC42-956A-027D42CABA5C}" destId="{10773469-3A0F-944C-A64E-5813C95065EA}" srcOrd="0" destOrd="0" presId="urn:microsoft.com/office/officeart/2005/8/layout/pyramid1"/>
    <dgm:cxn modelId="{00631FBB-398A-AA4A-BEB4-46CD0B0DE9B1}" type="presOf" srcId="{761DA577-FE2E-1D4B-90D0-641EE07F9D88}" destId="{49A2C099-09E7-5845-9B71-7892FA5F19FA}" srcOrd="0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B4DDD9BE-ED5A-4D4F-BF54-A31679B56A41}" type="presOf" srcId="{487C6DDB-16EA-8048-89A6-EBE7F5139E87}" destId="{F18AD3D4-3EBF-6740-A7F5-A34CCB8DAF75}" srcOrd="0" destOrd="0" presId="urn:microsoft.com/office/officeart/2005/8/layout/pyramid1"/>
    <dgm:cxn modelId="{9756B3CB-DC13-5349-BF0E-B7F1AF44FF53}" type="presOf" srcId="{17F7B346-7E44-884B-B208-34553535058F}" destId="{DBA6EBB8-21A0-894A-BA2E-6E7C6406075C}" srcOrd="1" destOrd="0" presId="urn:microsoft.com/office/officeart/2005/8/layout/pyramid1"/>
    <dgm:cxn modelId="{545827D1-534E-8944-81FA-18BF15D762F1}" type="presOf" srcId="{E63B5B2B-F6A6-8441-A576-D26F920DC37F}" destId="{6ECD5B3B-9384-5444-8A5D-3417A6E94D0F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943B753D-8CC2-FE4C-BA32-85C08B2DB20D}" type="presParOf" srcId="{6ECD5B3B-9384-5444-8A5D-3417A6E94D0F}" destId="{4C6A5A9E-52EB-664C-8E84-0B6237493D5E}" srcOrd="0" destOrd="0" presId="urn:microsoft.com/office/officeart/2005/8/layout/pyramid1"/>
    <dgm:cxn modelId="{E7DC9BE4-E765-1944-8BF7-D9603623CE62}" type="presParOf" srcId="{4C6A5A9E-52EB-664C-8E84-0B6237493D5E}" destId="{F18AD3D4-3EBF-6740-A7F5-A34CCB8DAF75}" srcOrd="0" destOrd="0" presId="urn:microsoft.com/office/officeart/2005/8/layout/pyramid1"/>
    <dgm:cxn modelId="{91562870-9BE7-6C47-BC4D-6695CA6E0FB1}" type="presParOf" srcId="{4C6A5A9E-52EB-664C-8E84-0B6237493D5E}" destId="{6C68EA97-559F-5B4C-BAEF-7523CDE8859F}" srcOrd="1" destOrd="0" presId="urn:microsoft.com/office/officeart/2005/8/layout/pyramid1"/>
    <dgm:cxn modelId="{14AC3ABF-0EF8-A34E-BF12-FE2D73AF3607}" type="presParOf" srcId="{6ECD5B3B-9384-5444-8A5D-3417A6E94D0F}" destId="{7D8399FB-5995-A348-BEB7-AC598E062549}" srcOrd="1" destOrd="0" presId="urn:microsoft.com/office/officeart/2005/8/layout/pyramid1"/>
    <dgm:cxn modelId="{DAD0D453-1C1A-A346-8187-4C36DF6EAA64}" type="presParOf" srcId="{7D8399FB-5995-A348-BEB7-AC598E062549}" destId="{E4AD5763-DCE8-8646-9423-0796D183EB64}" srcOrd="0" destOrd="0" presId="urn:microsoft.com/office/officeart/2005/8/layout/pyramid1"/>
    <dgm:cxn modelId="{7F7FAF88-3B4B-A647-8485-574330972E2D}" type="presParOf" srcId="{7D8399FB-5995-A348-BEB7-AC598E062549}" destId="{AC8E9D14-6819-8F4A-9C5D-059395C22341}" srcOrd="1" destOrd="0" presId="urn:microsoft.com/office/officeart/2005/8/layout/pyramid1"/>
    <dgm:cxn modelId="{4F64D8AB-F4FC-194B-94B8-5200E6F43C6D}" type="presParOf" srcId="{6ECD5B3B-9384-5444-8A5D-3417A6E94D0F}" destId="{9E4AA830-91D0-0541-A272-2817ECCF0C25}" srcOrd="2" destOrd="0" presId="urn:microsoft.com/office/officeart/2005/8/layout/pyramid1"/>
    <dgm:cxn modelId="{8D7B6460-E088-0945-94B0-878A3CC9306A}" type="presParOf" srcId="{9E4AA830-91D0-0541-A272-2817ECCF0C25}" destId="{49A2C099-09E7-5845-9B71-7892FA5F19FA}" srcOrd="0" destOrd="0" presId="urn:microsoft.com/office/officeart/2005/8/layout/pyramid1"/>
    <dgm:cxn modelId="{4F5468FF-4D9F-7C43-86A2-A8208995528D}" type="presParOf" srcId="{9E4AA830-91D0-0541-A272-2817ECCF0C25}" destId="{3E34D7F9-55F3-AE4B-82A2-173B2B147DA6}" srcOrd="1" destOrd="0" presId="urn:microsoft.com/office/officeart/2005/8/layout/pyramid1"/>
    <dgm:cxn modelId="{CB3B1B2B-BB34-1148-9A98-65EFEC96659D}" type="presParOf" srcId="{6ECD5B3B-9384-5444-8A5D-3417A6E94D0F}" destId="{3F559EEF-40ED-164D-BA25-7684CFE7966F}" srcOrd="3" destOrd="0" presId="urn:microsoft.com/office/officeart/2005/8/layout/pyramid1"/>
    <dgm:cxn modelId="{EF954714-1FAC-C241-B45F-86FAE407EAD9}" type="presParOf" srcId="{3F559EEF-40ED-164D-BA25-7684CFE7966F}" destId="{10773469-3A0F-944C-A64E-5813C95065EA}" srcOrd="0" destOrd="0" presId="urn:microsoft.com/office/officeart/2005/8/layout/pyramid1"/>
    <dgm:cxn modelId="{9B72028D-01D0-0846-9E79-6A3FB14C4FB4}" type="presParOf" srcId="{3F559EEF-40ED-164D-BA25-7684CFE7966F}" destId="{FA4DB1DE-A406-3B45-877A-D855E498BDD6}" srcOrd="1" destOrd="0" presId="urn:microsoft.com/office/officeart/2005/8/layout/pyramid1"/>
    <dgm:cxn modelId="{EF11517F-4384-3248-859D-B7716DD2CEB0}" type="presParOf" srcId="{6ECD5B3B-9384-5444-8A5D-3417A6E94D0F}" destId="{6751D3CF-4B1F-6745-90AB-D68983DE85B9}" srcOrd="4" destOrd="0" presId="urn:microsoft.com/office/officeart/2005/8/layout/pyramid1"/>
    <dgm:cxn modelId="{24E7CCE3-6A8A-7245-9595-DB9FEAAE39E0}" type="presParOf" srcId="{6751D3CF-4B1F-6745-90AB-D68983DE85B9}" destId="{7D0C00B8-FBB5-E542-BB8C-D7C0963864DD}" srcOrd="0" destOrd="0" presId="urn:microsoft.com/office/officeart/2005/8/layout/pyramid1"/>
    <dgm:cxn modelId="{2B71CFC6-2B33-A24A-A633-34BF1768A2BC}" type="presParOf" srcId="{6751D3CF-4B1F-6745-90AB-D68983DE85B9}" destId="{7F1E56D0-FCE2-0E43-AE50-B92A1C2A4023}" srcOrd="1" destOrd="0" presId="urn:microsoft.com/office/officeart/2005/8/layout/pyramid1"/>
    <dgm:cxn modelId="{E209C192-614A-BC44-841B-9073B331322C}" type="presParOf" srcId="{6ECD5B3B-9384-5444-8A5D-3417A6E94D0F}" destId="{D8AD44FA-A843-7B4C-B095-72629FE63ABF}" srcOrd="5" destOrd="0" presId="urn:microsoft.com/office/officeart/2005/8/layout/pyramid1"/>
    <dgm:cxn modelId="{8BC4D18C-216B-C841-8ADA-329013A0C6B9}" type="presParOf" srcId="{D8AD44FA-A843-7B4C-B095-72629FE63ABF}" destId="{E0640EEF-CCD0-A143-B7C0-98B8459BB784}" srcOrd="0" destOrd="0" presId="urn:microsoft.com/office/officeart/2005/8/layout/pyramid1"/>
    <dgm:cxn modelId="{A56B9947-26B6-BA49-8577-D0F6B194466A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 custLinFactNeighborX="0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2448882" y="0"/>
          <a:ext cx="979553" cy="664896"/>
        </a:xfrm>
        <a:prstGeom prst="trapezoid">
          <a:avLst>
            <a:gd name="adj" fmla="val 73662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0" kern="1200" dirty="0"/>
        </a:p>
      </dsp:txBody>
      <dsp:txXfrm>
        <a:off x="2448882" y="0"/>
        <a:ext cx="979553" cy="664896"/>
      </dsp:txXfrm>
    </dsp:sp>
    <dsp:sp modelId="{E4AD5763-DCE8-8646-9423-0796D183EB64}">
      <dsp:nvSpPr>
        <dsp:cNvPr id="0" name=""/>
        <dsp:cNvSpPr/>
      </dsp:nvSpPr>
      <dsp:spPr>
        <a:xfrm>
          <a:off x="1959106" y="664896"/>
          <a:ext cx="1959106" cy="664896"/>
        </a:xfrm>
        <a:prstGeom prst="trapezoid">
          <a:avLst>
            <a:gd name="adj" fmla="val 73662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duction</a:t>
          </a:r>
        </a:p>
      </dsp:txBody>
      <dsp:txXfrm>
        <a:off x="2301949" y="664896"/>
        <a:ext cx="1273419" cy="664896"/>
      </dsp:txXfrm>
    </dsp:sp>
    <dsp:sp modelId="{49A2C099-09E7-5845-9B71-7892FA5F19FA}">
      <dsp:nvSpPr>
        <dsp:cNvPr id="0" name=""/>
        <dsp:cNvSpPr/>
      </dsp:nvSpPr>
      <dsp:spPr>
        <a:xfrm>
          <a:off x="1469329" y="1329793"/>
          <a:ext cx="2938659" cy="664896"/>
        </a:xfrm>
        <a:prstGeom prst="trapezoid">
          <a:avLst>
            <a:gd name="adj" fmla="val 73662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use</a:t>
          </a:r>
        </a:p>
      </dsp:txBody>
      <dsp:txXfrm>
        <a:off x="1983595" y="1329793"/>
        <a:ext cx="1910128" cy="664896"/>
      </dsp:txXfrm>
    </dsp:sp>
    <dsp:sp modelId="{10773469-3A0F-944C-A64E-5813C95065EA}">
      <dsp:nvSpPr>
        <dsp:cNvPr id="0" name=""/>
        <dsp:cNvSpPr/>
      </dsp:nvSpPr>
      <dsp:spPr>
        <a:xfrm>
          <a:off x="979553" y="1994690"/>
          <a:ext cx="3918212" cy="664896"/>
        </a:xfrm>
        <a:prstGeom prst="trapezoid">
          <a:avLst>
            <a:gd name="adj" fmla="val 73662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cycling</a:t>
          </a:r>
          <a:endParaRPr lang="en-US" sz="2000" kern="1200" dirty="0"/>
        </a:p>
      </dsp:txBody>
      <dsp:txXfrm>
        <a:off x="1665240" y="1994690"/>
        <a:ext cx="2546838" cy="664896"/>
      </dsp:txXfrm>
    </dsp:sp>
    <dsp:sp modelId="{7D0C00B8-FBB5-E542-BB8C-D7C0963864DD}">
      <dsp:nvSpPr>
        <dsp:cNvPr id="0" name=""/>
        <dsp:cNvSpPr/>
      </dsp:nvSpPr>
      <dsp:spPr>
        <a:xfrm>
          <a:off x="489776" y="2659587"/>
          <a:ext cx="4897765" cy="664896"/>
        </a:xfrm>
        <a:prstGeom prst="trapezoid">
          <a:avLst>
            <a:gd name="adj" fmla="val 73662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nergy recovery</a:t>
          </a:r>
          <a:endParaRPr lang="en-US" sz="2000" kern="1200" dirty="0"/>
        </a:p>
      </dsp:txBody>
      <dsp:txXfrm>
        <a:off x="1346885" y="2659587"/>
        <a:ext cx="3183547" cy="664896"/>
      </dsp:txXfrm>
    </dsp:sp>
    <dsp:sp modelId="{E0640EEF-CCD0-A143-B7C0-98B8459BB784}">
      <dsp:nvSpPr>
        <dsp:cNvPr id="0" name=""/>
        <dsp:cNvSpPr/>
      </dsp:nvSpPr>
      <dsp:spPr>
        <a:xfrm>
          <a:off x="0" y="3324484"/>
          <a:ext cx="5877319" cy="664896"/>
        </a:xfrm>
        <a:prstGeom prst="trapezoid">
          <a:avLst>
            <a:gd name="adj" fmla="val 73662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isposal</a:t>
          </a:r>
        </a:p>
      </dsp:txBody>
      <dsp:txXfrm>
        <a:off x="1028530" y="3324484"/>
        <a:ext cx="3820257" cy="6648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7" Type="http://schemas.openxmlformats.org/officeDocument/2006/relationships/image" Target="../media/image22.emf"/><Relationship Id="rId2" Type="http://schemas.openxmlformats.org/officeDocument/2006/relationships/image" Target="../media/image17.emf"/><Relationship Id="rId1" Type="http://schemas.openxmlformats.org/officeDocument/2006/relationships/image" Target="../media/image16.emf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AA18FA-3DDD-E443-AB34-FCB1DBE67AE3}" type="datetimeFigureOut">
              <a:rPr lang="en-US" smtClean="0"/>
              <a:t>4/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41AE4-D752-D446-A178-A30358F2C9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503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 Regular" charset="0"/>
              </a:rPr>
              <a:t>Need for technologies to Reduce and Reuse waste. Ultimately, the waste production should be Preven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E31CE-E645-0646-B1C4-4C867113CE4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5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6606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247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cess Intensification - 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ple definition of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kiewicz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ulijn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2000), PI is ‘Any chemical engineering development that leads to a substantially smaller, cleaner, safer, and more energy efficient technology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erial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position – deposition of powder-sized materials on various surfa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41AE4-D752-D446-A178-A30358F2C97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057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just a</a:t>
            </a:r>
            <a:r>
              <a:rPr lang="en-US" baseline="0" dirty="0"/>
              <a:t> handful of examples of what we could do with glycerol so BURNING it is definitely not the most efficient way to use the limited resources nature off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733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so,</a:t>
            </a:r>
            <a:r>
              <a:rPr lang="en-US" baseline="0" dirty="0"/>
              <a:t> this catalyst works well in alkaline enviro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90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2050975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eguardian.com/environment/2014/jan/08/devecser-hungary-eco-tow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www.theatlantic.com/photo/2011/09/a-flood-of-red-sludge-one-year-later/100158/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lacoastpost.com/blog/?p=13160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redmud.org/red-mud/disposal/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32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3388661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18919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CA" dirty="0"/>
              <a:t>Conventional process to manufacture Chitin – Demineralization of Shells using HCl in huge quantity of water, then treating demineralized shells with NaOH solution to extract all the proteins. The Chitin/deproteinized shells are removed &amp; dried. Huge quantity of HCl and NaOH containing wastes. Chitin obtained still not of very high purity.</a:t>
            </a:r>
          </a:p>
        </p:txBody>
      </p:sp>
    </p:spTree>
    <p:extLst>
      <p:ext uri="{BB962C8B-B14F-4D97-AF65-F5344CB8AC3E}">
        <p14:creationId xmlns:p14="http://schemas.microsoft.com/office/powerpoint/2010/main" val="200389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24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41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32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24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67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3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23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74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87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6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843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040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47893-AA25-8441-AE6A-2F619A5D3FB0}" type="datetimeFigureOut">
              <a:rPr lang="en-US" smtClean="0"/>
              <a:t>4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9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39/1463-9270/1999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jpg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20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emf"/><Relationship Id="rId12" Type="http://schemas.openxmlformats.org/officeDocument/2006/relationships/oleObject" Target="../embeddings/oleObject6.bin"/><Relationship Id="rId17" Type="http://schemas.openxmlformats.org/officeDocument/2006/relationships/image" Target="../media/image2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9.emf"/><Relationship Id="rId5" Type="http://schemas.openxmlformats.org/officeDocument/2006/relationships/image" Target="../media/image16.emf"/><Relationship Id="rId15" Type="http://schemas.openxmlformats.org/officeDocument/2006/relationships/image" Target="../media/image21.emf"/><Relationship Id="rId10" Type="http://schemas.openxmlformats.org/officeDocument/2006/relationships/oleObject" Target="../embeddings/oleObject5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emf"/><Relationship Id="rId1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4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wmf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2.png"/><Relationship Id="rId5" Type="http://schemas.openxmlformats.org/officeDocument/2006/relationships/image" Target="../media/image41.jpg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tif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0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4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48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49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49.emf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tiff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tiff"/><Relationship Id="rId2" Type="http://schemas.openxmlformats.org/officeDocument/2006/relationships/image" Target="../media/image53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6.emf"/><Relationship Id="rId4" Type="http://schemas.openxmlformats.org/officeDocument/2006/relationships/image" Target="../media/image55.tif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57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8.tiff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9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0.tiff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11C9E5-B25B-4F46-BD1E-142F6BA6AEB1}"/>
              </a:ext>
            </a:extLst>
          </p:cNvPr>
          <p:cNvSpPr/>
          <p:nvPr/>
        </p:nvSpPr>
        <p:spPr>
          <a:xfrm>
            <a:off x="4326923" y="1555973"/>
            <a:ext cx="35381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Preven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954D4A-B9A9-4DE5-AE30-A6405586B69C}"/>
              </a:ext>
            </a:extLst>
          </p:cNvPr>
          <p:cNvSpPr txBox="1"/>
          <p:nvPr/>
        </p:nvSpPr>
        <p:spPr>
          <a:xfrm>
            <a:off x="604140" y="6550223"/>
            <a:ext cx="5643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Commons, Anacortes Refinery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hor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: Walter </a:t>
            </a:r>
            <a:r>
              <a:rPr lang="en-US" sz="1400" dirty="0" err="1">
                <a:solidFill>
                  <a:prstClr val="white">
                    <a:lumMod val="50000"/>
                  </a:prstClr>
                </a:solidFill>
              </a:rPr>
              <a:t>Siegmu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CC1083-CD6D-41DB-9615-37C5FAB054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504" y="2258944"/>
            <a:ext cx="5640495" cy="418630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94533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234" y="4446658"/>
            <a:ext cx="1020198" cy="149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0384" y="4341829"/>
            <a:ext cx="2874547" cy="8623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6F60F9A-D5FF-DE4C-9BED-0576452613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34C36E-C37E-1148-9CBE-23DF881173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2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623" y="233536"/>
            <a:ext cx="8735173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Reduction and Elimination of Was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9129" y="1694675"/>
            <a:ext cx="6604000" cy="2708434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Reduced solvent or </a:t>
            </a:r>
            <a:r>
              <a:rPr lang="en-US" b="1" dirty="0" err="1">
                <a:latin typeface="+mn-lt"/>
              </a:rPr>
              <a:t>solventless</a:t>
            </a:r>
            <a:r>
              <a:rPr lang="en-US" b="1" dirty="0">
                <a:latin typeface="+mn-lt"/>
              </a:rPr>
              <a:t> processes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Process intensification (smaller, cleaner and more energy efficient)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Self-separation (precipitation)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Use waste as a feedstock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355515" y="1516904"/>
            <a:ext cx="500743" cy="468086"/>
          </a:xfrm>
          <a:prstGeom prst="stripedRightArrow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0FAB45D-9C80-44D5-8007-2AD94E3BEA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677262"/>
              </p:ext>
            </p:extLst>
          </p:nvPr>
        </p:nvGraphicFramePr>
        <p:xfrm>
          <a:off x="780087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CD7C3D-CF0B-4C8B-8F9E-61CCA735690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295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059331" y="238691"/>
            <a:ext cx="100733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Sildenafil Citrate Production </a:t>
            </a:r>
          </a:p>
        </p:txBody>
      </p:sp>
      <p:sp>
        <p:nvSpPr>
          <p:cNvPr id="8" name="Rectangle 7"/>
          <p:cNvSpPr/>
          <p:nvPr/>
        </p:nvSpPr>
        <p:spPr>
          <a:xfrm>
            <a:off x="470435" y="1262177"/>
            <a:ext cx="1138872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ildenafil citrate, is a selective inhibitor of phosphodiesterase 5 (PDE5). This new drug has immediately became a major seller, achieving sales of more than $1 billion during its first year on the market. With such a rapid sales take off it was critical that the environmental performance of the synthesis was good from the outset.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02" t="14551" b="28810"/>
          <a:stretch/>
        </p:blipFill>
        <p:spPr>
          <a:xfrm>
            <a:off x="2145552" y="4496666"/>
            <a:ext cx="2008386" cy="199901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48921" y="2465341"/>
            <a:ext cx="5673689" cy="203132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Average yield of last three steps = 97% yield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Reduction of the ratio of solvent waste/kg product over 17 years from 1300 L/kg to only 7 L/kg by minimizing solvent use, increasing solvent recovery, improving solvent selection, and telescoping steps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Only the solvents </a:t>
            </a:r>
            <a:r>
              <a:rPr lang="en-US" i="1" dirty="0"/>
              <a:t>t</a:t>
            </a:r>
            <a:r>
              <a:rPr lang="en-US" dirty="0"/>
              <a:t>-butanol, ethyl acetate, 2-butanone, and a trace of toluene still require disposal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39200" y="6495683"/>
            <a:ext cx="28652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unn, P.J et al </a:t>
            </a:r>
            <a:r>
              <a:rPr lang="is-IS" sz="1200" i="1" dirty="0">
                <a:solidFill>
                  <a:schemeClr val="bg1">
                    <a:lumMod val="50000"/>
                  </a:schemeClr>
                </a:solidFill>
                <a:hlinkClick r:id="rId3" tooltip="Link to journal home page"/>
              </a:rPr>
              <a:t>Green Chem.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2004, </a:t>
            </a:r>
            <a:r>
              <a:rPr lang="is-IS" sz="12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43-48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A22A81-B30C-4520-8D52-D62A6EE1D6F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6C3D8C9-F94D-3A46-BFD9-3AB0087FF39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5561" y="2370173"/>
            <a:ext cx="5566228" cy="33505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9447B1F-F12F-B049-A40C-BE4F75097127}"/>
              </a:ext>
            </a:extLst>
          </p:cNvPr>
          <p:cNvSpPr/>
          <p:nvPr/>
        </p:nvSpPr>
        <p:spPr>
          <a:xfrm>
            <a:off x="6911063" y="6049407"/>
            <a:ext cx="43399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0" i="0" dirty="0">
                <a:effectLst/>
              </a:rPr>
              <a:t>The amount of organic waste produced by the sildenafil citrate processes at various time point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62049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C59CE5C1-619C-4A2A-94C6-AA8293230C5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587" y="1275912"/>
            <a:ext cx="8356209" cy="520049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1EEDAB-98A3-4BBB-AC78-378DA4D78998}"/>
              </a:ext>
            </a:extLst>
          </p:cNvPr>
          <p:cNvSpPr txBox="1"/>
          <p:nvPr/>
        </p:nvSpPr>
        <p:spPr>
          <a:xfrm>
            <a:off x="858129" y="1406763"/>
            <a:ext cx="3193366" cy="4495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Kalundborg</a:t>
            </a:r>
            <a:r>
              <a:rPr lang="en-US" dirty="0"/>
              <a:t>, Denmark provides currently best known example of industrial symbiosis in action.</a:t>
            </a:r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An oil refinery, a power station, gypsum board manufacturer, a pharma company, a cement company, </a:t>
            </a:r>
            <a:r>
              <a:rPr lang="en-US" dirty="0" err="1"/>
              <a:t>etc</a:t>
            </a:r>
            <a:r>
              <a:rPr lang="en-US" dirty="0"/>
              <a:t> – they share ground water, surface water, waste water, steam, and fuel and exchange a variety of byproducts that become in other processes.</a:t>
            </a:r>
            <a:endParaRPr lang="en-IN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AAA046-4C98-40CF-A07E-2FE1C312D960}"/>
              </a:ext>
            </a:extLst>
          </p:cNvPr>
          <p:cNvSpPr txBox="1"/>
          <p:nvPr/>
        </p:nvSpPr>
        <p:spPr>
          <a:xfrm>
            <a:off x="1308291" y="6485204"/>
            <a:ext cx="541606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dirty="0"/>
              <a:t>http://www.ehrn.co.za/publications/download/09.pdf</a:t>
            </a:r>
          </a:p>
        </p:txBody>
      </p:sp>
    </p:spTree>
    <p:extLst>
      <p:ext uri="{BB962C8B-B14F-4D97-AF65-F5344CB8AC3E}">
        <p14:creationId xmlns:p14="http://schemas.microsoft.com/office/powerpoint/2010/main" val="30905605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7489" y="1635116"/>
            <a:ext cx="8793327" cy="3408434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dirty="0"/>
              <a:t>Some e</a:t>
            </a:r>
            <a:r>
              <a:rPr lang="en-US" dirty="0">
                <a:latin typeface="+mn-lt"/>
              </a:rPr>
              <a:t>xamples: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Waste cooking oil for biodiesel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Glycerol for lactic acid using catalyst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Red mud for bricks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Crustacean (crab, lobster, shrimp, </a:t>
            </a:r>
            <a:r>
              <a:rPr lang="en-US" sz="2400" dirty="0" err="1"/>
              <a:t>etc</a:t>
            </a:r>
            <a:r>
              <a:rPr lang="en-US" sz="2400" dirty="0"/>
              <a:t>) shell waste for chitosan based product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2916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7514" y="346259"/>
            <a:ext cx="8756971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altLang="en-US" sz="3600" b="1" dirty="0">
                <a:latin typeface="+mn-lt"/>
              </a:rPr>
              <a:t>Example: Used oils as biofuel source</a:t>
            </a:r>
            <a:endParaRPr lang="en-US" sz="3600" b="1" dirty="0">
              <a:latin typeface="+mn-lt"/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80489240"/>
              </p:ext>
            </p:extLst>
          </p:nvPr>
        </p:nvGraphicFramePr>
        <p:xfrm>
          <a:off x="4505993" y="2871266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05993" y="2871266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9597509" y="5879186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>
            <a:off x="3625650" y="413078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79726"/>
              </p:ext>
            </p:extLst>
          </p:nvPr>
        </p:nvGraphicFramePr>
        <p:xfrm>
          <a:off x="120446" y="6502098"/>
          <a:ext cx="12140380" cy="304800"/>
        </p:xfrm>
        <a:graphic>
          <a:graphicData uri="http://schemas.openxmlformats.org/drawingml/2006/table">
            <a:tbl>
              <a:tblPr/>
              <a:tblGrid>
                <a:gridCol w="12140380">
                  <a:extLst>
                    <a:ext uri="{9D8B030D-6E8A-4147-A177-3AD203B41FA5}">
                      <a16:colId xmlns:a16="http://schemas.microsoft.com/office/drawing/2014/main" val="1988050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Leung, D. Y. C., &amp; Guo, Y. (2006). Transesterification of neat and used frying oil: optimization for biodiesel production. </a:t>
                      </a:r>
                      <a:r>
                        <a:rPr lang="en-US" sz="1400" i="1" dirty="0"/>
                        <a:t>Fuel processing technology</a:t>
                      </a:r>
                      <a:r>
                        <a:rPr lang="en-US" sz="1400" dirty="0"/>
                        <a:t>, </a:t>
                      </a:r>
                      <a:r>
                        <a:rPr lang="en-US" sz="1400" i="1" dirty="0"/>
                        <a:t>87</a:t>
                      </a:r>
                      <a:r>
                        <a:rPr lang="en-US" sz="1400" dirty="0"/>
                        <a:t>(10), 883-890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791996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77" y="3463620"/>
            <a:ext cx="2326942" cy="181497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383245" y="5290124"/>
            <a:ext cx="1585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Used frying oi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5668" y="1345853"/>
            <a:ext cx="10052053" cy="1331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400" dirty="0"/>
              <a:t>Biodiesel from virgin vegetable oil is considered first generation biofuel because it competes with food</a:t>
            </a:r>
          </a:p>
          <a:p>
            <a:pPr>
              <a:lnSpc>
                <a:spcPct val="114000"/>
              </a:lnSpc>
            </a:pPr>
            <a:r>
              <a:rPr lang="en-US" sz="2400" dirty="0"/>
              <a:t>=&gt; Turning to waste can offer a solution: frying oil can be used instead. 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6C0A88CA-6B42-4980-946A-7B2CF642AB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0540" y="5858190"/>
            <a:ext cx="1257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“Waste”</a:t>
            </a: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A7F6917D-36ED-4215-829F-02F2BE65BA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1082" y="5732444"/>
            <a:ext cx="331564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spcBef>
                <a:spcPts val="600"/>
              </a:spcBef>
              <a:buClrTx/>
              <a:buNone/>
            </a:pPr>
            <a:r>
              <a:rPr lang="en-US" altLang="en-US" sz="1900" b="1" dirty="0">
                <a:latin typeface="+mn-lt"/>
              </a:rPr>
              <a:t>Current treatment:</a:t>
            </a:r>
          </a:p>
          <a:p>
            <a:pPr marL="457200" lvl="1" indent="-18288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1900" dirty="0">
                <a:latin typeface="+mn-lt"/>
              </a:rPr>
              <a:t>Dispose / Combust as fuel.</a:t>
            </a:r>
          </a:p>
        </p:txBody>
      </p:sp>
    </p:spTree>
    <p:extLst>
      <p:ext uri="{BB962C8B-B14F-4D97-AF65-F5344CB8AC3E}">
        <p14:creationId xmlns:p14="http://schemas.microsoft.com/office/powerpoint/2010/main" val="14262638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015613" y="267471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Glycerol: a waste of biodiesel</a:t>
            </a: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6963393"/>
              </p:ext>
            </p:extLst>
          </p:nvPr>
        </p:nvGraphicFramePr>
        <p:xfrm>
          <a:off x="5410200" y="3429000"/>
          <a:ext cx="1225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96" name="CS ChemDraw Drawing" r:id="rId4" imgW="958821" imgH="621886" progId="ChemDraw.Document.6.0">
                  <p:embed/>
                </p:oleObj>
              </mc:Choice>
              <mc:Fallback>
                <p:oleObj name="CS ChemDraw Drawing" r:id="rId4" imgW="958821" imgH="621886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0200" y="3429000"/>
                        <a:ext cx="1225550" cy="80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ight Arrow 20"/>
          <p:cNvSpPr>
            <a:spLocks noChangeAspect="1"/>
          </p:cNvSpPr>
          <p:nvPr/>
        </p:nvSpPr>
        <p:spPr>
          <a:xfrm rot="19923074">
            <a:off x="6747455" y="284265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ight Arrow 21"/>
          <p:cNvSpPr>
            <a:spLocks noChangeAspect="1"/>
          </p:cNvSpPr>
          <p:nvPr/>
        </p:nvSpPr>
        <p:spPr>
          <a:xfrm>
            <a:off x="6913565" y="3602041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Right Arrow 22"/>
          <p:cNvSpPr>
            <a:spLocks noChangeAspect="1"/>
          </p:cNvSpPr>
          <p:nvPr/>
        </p:nvSpPr>
        <p:spPr>
          <a:xfrm rot="1890968">
            <a:off x="6699036" y="443095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2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763797"/>
              </p:ext>
            </p:extLst>
          </p:nvPr>
        </p:nvGraphicFramePr>
        <p:xfrm>
          <a:off x="7665780" y="2164964"/>
          <a:ext cx="846137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97" name="CS ChemDraw Drawing" r:id="rId6" imgW="663245" imgH="833565" progId="ChemDraw.Document.6.0">
                  <p:embed/>
                </p:oleObj>
              </mc:Choice>
              <mc:Fallback>
                <p:oleObj name="CS ChemDraw Drawing" r:id="rId6" imgW="663245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65780" y="2164964"/>
                        <a:ext cx="846137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7759001"/>
              </p:ext>
            </p:extLst>
          </p:nvPr>
        </p:nvGraphicFramePr>
        <p:xfrm>
          <a:off x="7941661" y="3383433"/>
          <a:ext cx="1227138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98" name="CS ChemDraw Drawing" r:id="rId8" imgW="961790" imgH="833565" progId="ChemDraw.Document.6.0">
                  <p:embed/>
                </p:oleObj>
              </mc:Choice>
              <mc:Fallback>
                <p:oleObj name="CS ChemDraw Drawing" r:id="rId8" imgW="961790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41661" y="3383433"/>
                        <a:ext cx="1227138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2160233"/>
              </p:ext>
            </p:extLst>
          </p:nvPr>
        </p:nvGraphicFramePr>
        <p:xfrm>
          <a:off x="7547403" y="4644744"/>
          <a:ext cx="1327150" cy="839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99" name="CS ChemDraw Drawing" r:id="rId10" imgW="1040667" imgH="658368" progId="ChemDraw.Document.6.0">
                  <p:embed/>
                </p:oleObj>
              </mc:Choice>
              <mc:Fallback>
                <p:oleObj name="CS ChemDraw Drawing" r:id="rId10" imgW="1040667" imgH="658368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47403" y="4644744"/>
                        <a:ext cx="1327150" cy="839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/>
          <p:cNvSpPr txBox="1">
            <a:spLocks noChangeAspect="1"/>
          </p:cNvSpPr>
          <p:nvPr/>
        </p:nvSpPr>
        <p:spPr>
          <a:xfrm>
            <a:off x="8594009" y="2385475"/>
            <a:ext cx="1388192" cy="357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lang="en-US" sz="1600" b="1" dirty="0"/>
              <a:t>Polylactic acid</a:t>
            </a:r>
          </a:p>
        </p:txBody>
      </p:sp>
      <p:sp>
        <p:nvSpPr>
          <p:cNvPr id="28" name="TextBox 13"/>
          <p:cNvSpPr txBox="1">
            <a:spLocks noChangeAspect="1" noChangeArrowheads="1"/>
          </p:cNvSpPr>
          <p:nvPr/>
        </p:nvSpPr>
        <p:spPr bwMode="auto">
          <a:xfrm>
            <a:off x="9351575" y="3519246"/>
            <a:ext cx="1136650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Valuable medicinal product</a:t>
            </a:r>
          </a:p>
        </p:txBody>
      </p:sp>
      <p:sp>
        <p:nvSpPr>
          <p:cNvPr id="29" name="TextBox 14"/>
          <p:cNvSpPr txBox="1">
            <a:spLocks noChangeAspect="1" noChangeArrowheads="1"/>
          </p:cNvSpPr>
          <p:nvPr/>
        </p:nvSpPr>
        <p:spPr bwMode="auto">
          <a:xfrm>
            <a:off x="9120677" y="4724705"/>
            <a:ext cx="1311276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unless tanning product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8311487"/>
              </p:ext>
            </p:extLst>
          </p:nvPr>
        </p:nvGraphicFramePr>
        <p:xfrm>
          <a:off x="2875253" y="3505202"/>
          <a:ext cx="1053649" cy="795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00" name="CS ChemDraw Drawing" r:id="rId12" imgW="829056" imgH="626128" progId="ChemDraw.Document.6.0">
                  <p:embed/>
                </p:oleObj>
              </mc:Choice>
              <mc:Fallback>
                <p:oleObj name="CS ChemDraw Drawing" r:id="rId12" imgW="829056" imgH="62612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75253" y="3505202"/>
                        <a:ext cx="1053649" cy="795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6885092"/>
              </p:ext>
            </p:extLst>
          </p:nvPr>
        </p:nvGraphicFramePr>
        <p:xfrm>
          <a:off x="2985703" y="4673061"/>
          <a:ext cx="1689100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01" name="CS ChemDraw Drawing" r:id="rId14" imgW="1258638" imgH="873441" progId="ChemDraw.Document.6.0">
                  <p:embed/>
                </p:oleObj>
              </mc:Choice>
              <mc:Fallback>
                <p:oleObj name="CS ChemDraw Drawing" r:id="rId14" imgW="1258638" imgH="87344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985703" y="4673061"/>
                        <a:ext cx="1689100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Arrow 29"/>
          <p:cNvSpPr>
            <a:spLocks noChangeAspect="1"/>
          </p:cNvSpPr>
          <p:nvPr/>
        </p:nvSpPr>
        <p:spPr>
          <a:xfrm rot="10800000">
            <a:off x="4138780" y="360204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>
          <a:xfrm rot="9062402">
            <a:off x="4437326" y="440053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TextBox 13"/>
          <p:cNvSpPr txBox="1">
            <a:spLocks noChangeAspect="1" noChangeArrowheads="1"/>
          </p:cNvSpPr>
          <p:nvPr/>
        </p:nvSpPr>
        <p:spPr bwMode="auto">
          <a:xfrm>
            <a:off x="2074981" y="4881651"/>
            <a:ext cx="1386489" cy="35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Anti-freeze</a:t>
            </a:r>
          </a:p>
        </p:txBody>
      </p:sp>
      <p:sp>
        <p:nvSpPr>
          <p:cNvPr id="33" name="TextBox 13"/>
          <p:cNvSpPr txBox="1">
            <a:spLocks noChangeAspect="1" noChangeArrowheads="1"/>
          </p:cNvSpPr>
          <p:nvPr/>
        </p:nvSpPr>
        <p:spPr bwMode="auto">
          <a:xfrm>
            <a:off x="1731055" y="3482539"/>
            <a:ext cx="1386489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Industrial chemical precursors</a:t>
            </a:r>
          </a:p>
        </p:txBody>
      </p:sp>
      <p:graphicFrame>
        <p:nvGraphicFramePr>
          <p:cNvPr id="34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643408"/>
              </p:ext>
            </p:extLst>
          </p:nvPr>
        </p:nvGraphicFramePr>
        <p:xfrm>
          <a:off x="3374980" y="2164964"/>
          <a:ext cx="968413" cy="784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02" name="CS ChemDraw Drawing" r:id="rId16" imgW="800219" imgH="652429" progId="ChemDraw.Document.6.0">
                  <p:embed/>
                </p:oleObj>
              </mc:Choice>
              <mc:Fallback>
                <p:oleObj name="CS ChemDraw Drawing" r:id="rId16" imgW="800219" imgH="65242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374980" y="2164964"/>
                        <a:ext cx="968413" cy="784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ight Arrow 34"/>
          <p:cNvSpPr>
            <a:spLocks noChangeAspect="1"/>
          </p:cNvSpPr>
          <p:nvPr/>
        </p:nvSpPr>
        <p:spPr>
          <a:xfrm rot="12632703">
            <a:off x="4434508" y="2812299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TextBox 13"/>
          <p:cNvSpPr txBox="1">
            <a:spLocks noChangeAspect="1" noChangeArrowheads="1"/>
          </p:cNvSpPr>
          <p:nvPr/>
        </p:nvSpPr>
        <p:spPr bwMode="auto">
          <a:xfrm>
            <a:off x="2226919" y="2048793"/>
            <a:ext cx="1070273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kin exfoliating reagent</a:t>
            </a: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7151472" y="1908474"/>
            <a:ext cx="2971800" cy="144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CDC005-7562-4329-9A5F-DCE316E4A62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605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914400" y="-134203"/>
            <a:ext cx="10363200" cy="1323439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altLang="en-US" sz="4000" b="1" dirty="0">
                <a:latin typeface="+mn-lt"/>
              </a:rPr>
              <a:t>Production and Applications of Lactic Acid- Conventional process</a:t>
            </a:r>
          </a:p>
        </p:txBody>
      </p:sp>
      <p:sp>
        <p:nvSpPr>
          <p:cNvPr id="27652" name="TextBox 4"/>
          <p:cNvSpPr txBox="1">
            <a:spLocks noChangeArrowheads="1"/>
          </p:cNvSpPr>
          <p:nvPr/>
        </p:nvSpPr>
        <p:spPr bwMode="auto">
          <a:xfrm>
            <a:off x="1235894" y="4166108"/>
            <a:ext cx="4700672" cy="1826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lnSpc>
                <a:spcPct val="114000"/>
              </a:lnSpc>
              <a:spcBef>
                <a:spcPct val="0"/>
              </a:spcBef>
              <a:buClrTx/>
              <a:buNone/>
            </a:pPr>
            <a:r>
              <a:rPr lang="en-US" altLang="en-US" sz="2000" dirty="0">
                <a:solidFill>
                  <a:srgbClr val="FF0000"/>
                </a:solidFill>
                <a:latin typeface="+mn-lt"/>
              </a:rPr>
              <a:t>90% of lactic acid </a:t>
            </a:r>
            <a:r>
              <a:rPr lang="en-US" altLang="en-US" sz="2000" dirty="0">
                <a:latin typeface="+mn-lt"/>
              </a:rPr>
              <a:t>comes from anaerobic fermentation of hexose sugar (e.g. corn starch)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mpete with food sources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Slow and requires a lot of purifications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869" y="1441236"/>
            <a:ext cx="5026282" cy="490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1274886" y="6411058"/>
            <a:ext cx="78403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ussel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; Va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ouw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P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ewae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akshina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E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Sel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B. F.,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Energy &amp; Environmental Science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3,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(5), 1415-1442.</a:t>
            </a: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1235894" y="1514906"/>
            <a:ext cx="4440896" cy="2520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 indent="-274320">
              <a:lnSpc>
                <a:spcPct val="114000"/>
              </a:lnSpc>
              <a:spcBef>
                <a:spcPts val="600"/>
              </a:spcBef>
              <a:buNone/>
            </a:pPr>
            <a:r>
              <a:rPr lang="en-US" altLang="en-US" sz="2200" dirty="0">
                <a:latin typeface="+mn-lt"/>
              </a:rPr>
              <a:t>Other applications of Lactic Acid: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Food preservatives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Edible pH modifier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Textile industry 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smetic and pharmaceutical industr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930E18-9DAF-4FE2-8DF4-C16AE97F9FB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3378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994950" y="257267"/>
            <a:ext cx="8202100" cy="646331"/>
          </a:xfrm>
        </p:spPr>
        <p:txBody>
          <a:bodyPr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Electrocatalytic Oxidation of Glycerol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1364695" y="4209424"/>
            <a:ext cx="264046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000" dirty="0">
                <a:latin typeface="+mn-lt"/>
              </a:rPr>
              <a:t>2H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O ---&gt; O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 + 4H</a:t>
            </a:r>
            <a:r>
              <a:rPr lang="en-US" altLang="en-US" sz="2000" baseline="30000" dirty="0">
                <a:latin typeface="+mn-lt"/>
              </a:rPr>
              <a:t>+</a:t>
            </a:r>
            <a:r>
              <a:rPr lang="en-US" altLang="en-US" sz="2000" dirty="0">
                <a:latin typeface="+mn-lt"/>
              </a:rPr>
              <a:t> + 4e</a:t>
            </a:r>
            <a:r>
              <a:rPr lang="en-US" altLang="en-US" sz="2000" baseline="30000" dirty="0">
                <a:latin typeface="+mn-lt"/>
              </a:rPr>
              <a:t>-</a:t>
            </a:r>
          </a:p>
        </p:txBody>
      </p:sp>
      <p:graphicFrame>
        <p:nvGraphicFramePr>
          <p:cNvPr id="31756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8114554"/>
              </p:ext>
            </p:extLst>
          </p:nvPr>
        </p:nvGraphicFramePr>
        <p:xfrm>
          <a:off x="1172586" y="4624384"/>
          <a:ext cx="3189287" cy="77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" name="CS ChemDraw Drawing" r:id="rId3" imgW="3188579" imgH="772904" progId="ChemDraw.Document.6.0">
                  <p:embed/>
                </p:oleObj>
              </mc:Choice>
              <mc:Fallback>
                <p:oleObj name="CS ChemDraw Drawing" r:id="rId3" imgW="3188579" imgH="772904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72586" y="4624384"/>
                        <a:ext cx="3189287" cy="773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835799" y="3504954"/>
            <a:ext cx="16610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967102" y="4097337"/>
            <a:ext cx="3661169" cy="1431263"/>
          </a:xfrm>
          <a:prstGeom prst="wedgeRoundRectCallout">
            <a:avLst>
              <a:gd name="adj1" fmla="val 74656"/>
              <a:gd name="adj2" fmla="val 3458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20693" y="2346447"/>
            <a:ext cx="3332503" cy="14757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Water-compatibl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tmospheric pressure 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Room temp. or abov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Very low current / voltag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EBE5E6F-B4DD-4791-B090-93258822BCD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1F01FED-D929-4CFC-9773-0386D5771BC1}"/>
              </a:ext>
            </a:extLst>
          </p:cNvPr>
          <p:cNvGrpSpPr/>
          <p:nvPr/>
        </p:nvGrpSpPr>
        <p:grpSpPr>
          <a:xfrm>
            <a:off x="5736385" y="1592264"/>
            <a:ext cx="4785482" cy="4579937"/>
            <a:chOff x="3798888" y="1846263"/>
            <a:chExt cx="4785482" cy="4579937"/>
          </a:xfrm>
        </p:grpSpPr>
        <p:sp>
          <p:nvSpPr>
            <p:cNvPr id="32" name="Cube 31">
              <a:extLst>
                <a:ext uri="{FF2B5EF4-FFF2-40B4-BE49-F238E27FC236}">
                  <a16:creationId xmlns:a16="http://schemas.microsoft.com/office/drawing/2014/main" id="{6BCD5720-BE24-4FC4-9B27-8B3A4A73FC79}"/>
                </a:ext>
              </a:extLst>
            </p:cNvPr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3" name="Can 4">
              <a:extLst>
                <a:ext uri="{FF2B5EF4-FFF2-40B4-BE49-F238E27FC236}">
                  <a16:creationId xmlns:a16="http://schemas.microsoft.com/office/drawing/2014/main" id="{DEEA42E8-A31A-46F6-AEBA-572F734B4467}"/>
                </a:ext>
              </a:extLst>
            </p:cNvPr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29F5CAF-4379-43C9-85C3-31A07B0B8C1C}"/>
                </a:ext>
              </a:extLst>
            </p:cNvPr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ube 34">
              <a:extLst>
                <a:ext uri="{FF2B5EF4-FFF2-40B4-BE49-F238E27FC236}">
                  <a16:creationId xmlns:a16="http://schemas.microsoft.com/office/drawing/2014/main" id="{0AE137B8-501F-4565-B1CD-07E89104026E}"/>
                </a:ext>
              </a:extLst>
            </p:cNvPr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3CA3E39-3AF2-44C7-BBFA-A850FAD4214F}"/>
                </a:ext>
              </a:extLst>
            </p:cNvPr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CA40736-841D-49F6-AEC3-EC48A713FC70}"/>
                </a:ext>
              </a:extLst>
            </p:cNvPr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9">
              <a:extLst>
                <a:ext uri="{FF2B5EF4-FFF2-40B4-BE49-F238E27FC236}">
                  <a16:creationId xmlns:a16="http://schemas.microsoft.com/office/drawing/2014/main" id="{819E49BF-2C72-4D88-AC12-1106F1852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9" name="TextBox 10">
              <a:extLst>
                <a:ext uri="{FF2B5EF4-FFF2-40B4-BE49-F238E27FC236}">
                  <a16:creationId xmlns:a16="http://schemas.microsoft.com/office/drawing/2014/main" id="{763DFAA8-8699-42C1-BB63-61DCC8BC2F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40" name="Rounded Rectangular Callout 13">
              <a:extLst>
                <a:ext uri="{FF2B5EF4-FFF2-40B4-BE49-F238E27FC236}">
                  <a16:creationId xmlns:a16="http://schemas.microsoft.com/office/drawing/2014/main" id="{E13766CB-97D4-4119-8D10-7AC6342A59DE}"/>
                </a:ext>
              </a:extLst>
            </p:cNvPr>
            <p:cNvSpPr/>
            <p:nvPr/>
          </p:nvSpPr>
          <p:spPr>
            <a:xfrm>
              <a:off x="6885745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1" name="Can 15">
              <a:extLst>
                <a:ext uri="{FF2B5EF4-FFF2-40B4-BE49-F238E27FC236}">
                  <a16:creationId xmlns:a16="http://schemas.microsoft.com/office/drawing/2014/main" id="{AABDE42E-9336-4227-994C-389FF8F89870}"/>
                </a:ext>
              </a:extLst>
            </p:cNvPr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Rounded Rectangle 17">
              <a:extLst>
                <a:ext uri="{FF2B5EF4-FFF2-40B4-BE49-F238E27FC236}">
                  <a16:creationId xmlns:a16="http://schemas.microsoft.com/office/drawing/2014/main" id="{7E114F63-0A45-43E5-A4CD-632B7300F90F}"/>
                </a:ext>
              </a:extLst>
            </p:cNvPr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43" name="TextBox 18">
              <a:extLst>
                <a:ext uri="{FF2B5EF4-FFF2-40B4-BE49-F238E27FC236}">
                  <a16:creationId xmlns:a16="http://schemas.microsoft.com/office/drawing/2014/main" id="{FC8A56F7-95BA-473A-BAD9-4A0BB3477F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4" name="TextBox 19">
              <a:extLst>
                <a:ext uri="{FF2B5EF4-FFF2-40B4-BE49-F238E27FC236}">
                  <a16:creationId xmlns:a16="http://schemas.microsoft.com/office/drawing/2014/main" id="{D785FDEA-1F22-4C7D-A465-9DAC92590C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5" name="TextBox 20">
              <a:extLst>
                <a:ext uri="{FF2B5EF4-FFF2-40B4-BE49-F238E27FC236}">
                  <a16:creationId xmlns:a16="http://schemas.microsoft.com/office/drawing/2014/main" id="{5CFFDCDD-12D8-4BB3-BBD4-9BA31DECB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6" name="TextBox 21">
              <a:extLst>
                <a:ext uri="{FF2B5EF4-FFF2-40B4-BE49-F238E27FC236}">
                  <a16:creationId xmlns:a16="http://schemas.microsoft.com/office/drawing/2014/main" id="{AE43145E-2FA8-404E-9D47-5ECE4F2CE1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/>
                <a:t>e</a:t>
              </a:r>
              <a:r>
                <a:rPr lang="en-US" altLang="en-US" sz="1600" baseline="30000" dirty="0"/>
                <a:t>-</a:t>
              </a:r>
            </a:p>
          </p:txBody>
        </p:sp>
        <p:sp>
          <p:nvSpPr>
            <p:cNvPr id="47" name="TextBox 22">
              <a:extLst>
                <a:ext uri="{FF2B5EF4-FFF2-40B4-BE49-F238E27FC236}">
                  <a16:creationId xmlns:a16="http://schemas.microsoft.com/office/drawing/2014/main" id="{5D52BDFC-484F-4E02-BDE9-9F40D515A8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8" name="TextBox 23">
              <a:extLst>
                <a:ext uri="{FF2B5EF4-FFF2-40B4-BE49-F238E27FC236}">
                  <a16:creationId xmlns:a16="http://schemas.microsoft.com/office/drawing/2014/main" id="{093E0686-18FD-4900-82A0-43B8B8E993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9" name="TextBox 24">
              <a:extLst>
                <a:ext uri="{FF2B5EF4-FFF2-40B4-BE49-F238E27FC236}">
                  <a16:creationId xmlns:a16="http://schemas.microsoft.com/office/drawing/2014/main" id="{DD1A88FC-CBA2-4912-8CEB-1D675D7474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50" name="Right Arrow 25">
              <a:extLst>
                <a:ext uri="{FF2B5EF4-FFF2-40B4-BE49-F238E27FC236}">
                  <a16:creationId xmlns:a16="http://schemas.microsoft.com/office/drawing/2014/main" id="{41FFCDE8-118B-46E2-8E78-B222AF27DE07}"/>
                </a:ext>
              </a:extLst>
            </p:cNvPr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1" name="Right Arrow 26">
              <a:extLst>
                <a:ext uri="{FF2B5EF4-FFF2-40B4-BE49-F238E27FC236}">
                  <a16:creationId xmlns:a16="http://schemas.microsoft.com/office/drawing/2014/main" id="{F29AB5CC-FA41-4092-B8BF-00C3FF0F4240}"/>
                </a:ext>
              </a:extLst>
            </p:cNvPr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69482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270260" y="270616"/>
            <a:ext cx="1165147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Water Electrolysis with Earth Abundant Metal Catalyst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2332385" y="3337834"/>
            <a:ext cx="25759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O ---&gt; O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 + 4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4e</a:t>
            </a:r>
            <a:r>
              <a:rPr lang="en-US" altLang="en-US" sz="1800" baseline="30000" dirty="0">
                <a:latin typeface="+mn-lt"/>
              </a:rPr>
              <a:t>-</a:t>
            </a:r>
          </a:p>
        </p:txBody>
      </p:sp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246749" y="3367026"/>
            <a:ext cx="1782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033000" y="1479720"/>
            <a:ext cx="4898021" cy="4579937"/>
            <a:chOff x="3798888" y="1846263"/>
            <a:chExt cx="4898021" cy="4579937"/>
          </a:xfrm>
        </p:grpSpPr>
        <p:sp>
          <p:nvSpPr>
            <p:cNvPr id="4" name="Cube 3"/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" name="Can 4"/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Cube 6"/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753" name="TextBox 9"/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1754" name="TextBox 10"/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14" name="Rounded Rectangular Callout 13"/>
            <p:cNvSpPr/>
            <p:nvPr/>
          </p:nvSpPr>
          <p:spPr>
            <a:xfrm>
              <a:off x="6998284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6" name="Can 15"/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31762" name="TextBox 18"/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3" name="TextBox 19"/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4" name="TextBox 20"/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5" name="TextBox 21"/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6" name="TextBox 22"/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7" name="TextBox 23"/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8" name="TextBox 24"/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26" name="Right Arrow 25"/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7" name="Right Arrow 26"/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17" name="Rounded Rectangular Callout 16"/>
          <p:cNvSpPr/>
          <p:nvPr/>
        </p:nvSpPr>
        <p:spPr>
          <a:xfrm>
            <a:off x="2269973" y="3312244"/>
            <a:ext cx="2466282" cy="432591"/>
          </a:xfrm>
          <a:prstGeom prst="wedgeRoundRectCallout">
            <a:avLst>
              <a:gd name="adj1" fmla="val 67856"/>
              <a:gd name="adj2" fmla="val 142387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75350" y="3814592"/>
            <a:ext cx="2728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thode:</a:t>
            </a:r>
          </a:p>
          <a:p>
            <a:r>
              <a:rPr lang="en-US" dirty="0"/>
              <a:t>Any conductive material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418703" y="3988869"/>
            <a:ext cx="35282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node:</a:t>
            </a:r>
          </a:p>
          <a:p>
            <a:r>
              <a:rPr lang="en-US" dirty="0"/>
              <a:t>Expensive platinum group metal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3085515" y="4761812"/>
            <a:ext cx="381000" cy="5549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1491175" y="5208129"/>
            <a:ext cx="34722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balt 1,2‐bis(diphenylphosphino)ethane </a:t>
            </a:r>
          </a:p>
          <a:p>
            <a:pPr algn="ctr"/>
            <a:r>
              <a:rPr lang="en-US" dirty="0"/>
              <a:t>(Co-DPP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584862" y="6398479"/>
            <a:ext cx="746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Bloomfield, A. J.; Sheehan, S. W.; Collom, S. L.; Crabtree, R. H.; Anastas, P. T., A heterogeneous water oxidation catalyst from dicobalt octacarbonyl and 1,2-bis(diphenylphosphino)ethane.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New J. Chem.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38 (4), 1540-1545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B1D86B6-2905-4FA3-A7FE-4EC6F1754F06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976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6304" y="1309591"/>
            <a:ext cx="7296884" cy="1082348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latin typeface="+mn-lt"/>
              </a:rPr>
              <a:t>The Bayer Process (Karl Bayer, 1887)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0" r="11134"/>
          <a:stretch/>
        </p:blipFill>
        <p:spPr>
          <a:xfrm>
            <a:off x="885811" y="3300613"/>
            <a:ext cx="1132217" cy="104595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152302" y="3747868"/>
            <a:ext cx="171782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989" y="5696981"/>
            <a:ext cx="808517" cy="808517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295755"/>
              </p:ext>
            </p:extLst>
          </p:nvPr>
        </p:nvGraphicFramePr>
        <p:xfrm>
          <a:off x="6080228" y="4264770"/>
          <a:ext cx="189296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7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l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mposi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6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2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1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O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8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-25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, Cr, V, Ni, Ba, Cu, Mn, Pb, Zn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c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s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41619" y="3356885"/>
            <a:ext cx="1418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NaOH, 170 – 180 °C</a:t>
            </a:r>
          </a:p>
          <a:p>
            <a:pPr algn="ctr"/>
            <a:r>
              <a:rPr lang="en-US" sz="1200" dirty="0"/>
              <a:t>1 – 6 atm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91" y="4590229"/>
            <a:ext cx="811706" cy="54440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089729" y="3529882"/>
            <a:ext cx="1509916" cy="5232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odium aluminate</a:t>
            </a:r>
          </a:p>
          <a:p>
            <a:pPr algn="ctr"/>
            <a:r>
              <a:rPr lang="en-US" sz="1400" dirty="0"/>
              <a:t>Na</a:t>
            </a:r>
            <a:r>
              <a:rPr lang="en-US" sz="1400" baseline="30000" dirty="0"/>
              <a:t>+ </a:t>
            </a:r>
            <a:r>
              <a:rPr lang="en-US" sz="1400" dirty="0"/>
              <a:t>Al(OH)</a:t>
            </a:r>
            <a:r>
              <a:rPr lang="en-US" sz="1400" baseline="-25000" dirty="0"/>
              <a:t>4</a:t>
            </a:r>
            <a:r>
              <a:rPr lang="en-US" sz="1400" baseline="30000" dirty="0"/>
              <a:t>-</a:t>
            </a:r>
            <a:endParaRPr lang="en-US" sz="1400" dirty="0"/>
          </a:p>
        </p:txBody>
      </p:sp>
      <p:sp>
        <p:nvSpPr>
          <p:cNvPr id="14" name="Right Arrow 13"/>
          <p:cNvSpPr/>
          <p:nvPr/>
        </p:nvSpPr>
        <p:spPr>
          <a:xfrm rot="5400000">
            <a:off x="4790255" y="4165760"/>
            <a:ext cx="438961" cy="325533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ight Arrow 14"/>
          <p:cNvSpPr/>
          <p:nvPr/>
        </p:nvSpPr>
        <p:spPr>
          <a:xfrm rot="5400000">
            <a:off x="4792000" y="5240335"/>
            <a:ext cx="44398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extBox 15"/>
          <p:cNvSpPr txBox="1"/>
          <p:nvPr/>
        </p:nvSpPr>
        <p:spPr>
          <a:xfrm>
            <a:off x="3890890" y="4137107"/>
            <a:ext cx="100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Precipit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301631" y="5309793"/>
            <a:ext cx="15807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Electrolytic Redu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8047" y="3655205"/>
            <a:ext cx="846770" cy="30777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Red Mu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95305" y="4518280"/>
            <a:ext cx="837216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a </a:t>
            </a:r>
          </a:p>
          <a:p>
            <a:pPr algn="ctr"/>
            <a:r>
              <a:rPr lang="en-US" sz="1200" dirty="0"/>
              <a:t>Al</a:t>
            </a:r>
            <a:r>
              <a:rPr lang="en-US" sz="1200" baseline="-25000" dirty="0"/>
              <a:t>2</a:t>
            </a:r>
            <a:r>
              <a:rPr lang="en-US" sz="1200" dirty="0"/>
              <a:t>O</a:t>
            </a:r>
            <a:r>
              <a:rPr lang="en-US" sz="1200" baseline="-25000" dirty="0"/>
              <a:t>3</a:t>
            </a:r>
          </a:p>
          <a:p>
            <a:pPr algn="ctr"/>
            <a:r>
              <a:rPr lang="en-US" sz="1200" dirty="0"/>
              <a:t>(~2 tonne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07730" y="5818001"/>
            <a:ext cx="8372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um</a:t>
            </a:r>
          </a:p>
          <a:p>
            <a:pPr algn="ctr"/>
            <a:r>
              <a:rPr lang="en-US" sz="1200" dirty="0"/>
              <a:t>(~1 tonne)</a:t>
            </a:r>
            <a:endParaRPr lang="en-US" sz="1200" baseline="-25000" dirty="0"/>
          </a:p>
        </p:txBody>
      </p:sp>
      <p:sp>
        <p:nvSpPr>
          <p:cNvPr id="22" name="TextBox 21"/>
          <p:cNvSpPr txBox="1"/>
          <p:nvPr/>
        </p:nvSpPr>
        <p:spPr>
          <a:xfrm>
            <a:off x="958769" y="4360587"/>
            <a:ext cx="98629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Bauxites</a:t>
            </a:r>
          </a:p>
          <a:p>
            <a:pPr algn="ctr"/>
            <a:r>
              <a:rPr lang="en-US" sz="1200" dirty="0"/>
              <a:t>(4 – 5 tonne)</a:t>
            </a:r>
            <a:endParaRPr lang="en-US" sz="1200" baseline="-25000" dirty="0"/>
          </a:p>
        </p:txBody>
      </p:sp>
      <p:sp>
        <p:nvSpPr>
          <p:cNvPr id="24" name="Rectangle 23"/>
          <p:cNvSpPr/>
          <p:nvPr/>
        </p:nvSpPr>
        <p:spPr>
          <a:xfrm>
            <a:off x="634100" y="6493980"/>
            <a:ext cx="5058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http://www.aluminiumleader.com/production/aluminum_production</a:t>
            </a:r>
          </a:p>
        </p:txBody>
      </p:sp>
      <p:sp>
        <p:nvSpPr>
          <p:cNvPr id="26" name="Plus 25"/>
          <p:cNvSpPr/>
          <p:nvPr/>
        </p:nvSpPr>
        <p:spPr>
          <a:xfrm>
            <a:off x="5821310" y="3607689"/>
            <a:ext cx="435077" cy="43507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extBox 7"/>
          <p:cNvSpPr txBox="1"/>
          <p:nvPr/>
        </p:nvSpPr>
        <p:spPr>
          <a:xfrm>
            <a:off x="8213341" y="4548005"/>
            <a:ext cx="3238305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Red mu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oxic sludge (highly basic </a:t>
            </a:r>
            <a:r>
              <a:rPr lang="en-US" b="1" dirty="0"/>
              <a:t>pH=14</a:t>
            </a:r>
            <a:r>
              <a:rPr lang="en-US" dirty="0"/>
              <a:t>)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byproduct of Bayer process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1 ton of Al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r>
              <a:rPr lang="en-US" dirty="0"/>
              <a:t> =&gt; 1/3 to 2 tons of red mud.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Image result for red mu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8586" y="2661033"/>
            <a:ext cx="2980312" cy="1739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 descr="bayer_proces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6410" y="1808438"/>
            <a:ext cx="4211637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7969843" y="1418970"/>
            <a:ext cx="3734477" cy="1021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Bayer Process: </a:t>
            </a:r>
            <a:r>
              <a:rPr lang="en-US" dirty="0"/>
              <a:t>industrial process that refines bauxite, raw aluminum ore, into aluminum oxide, or alumina.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</p:spTree>
    <p:extLst>
      <p:ext uri="{BB962C8B-B14F-4D97-AF65-F5344CB8AC3E}">
        <p14:creationId xmlns:p14="http://schemas.microsoft.com/office/powerpoint/2010/main" val="1586316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82" y="133220"/>
            <a:ext cx="1900766" cy="123664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25148" y="365685"/>
            <a:ext cx="39562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Waste Preven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8790" y="1685591"/>
            <a:ext cx="10054418" cy="489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It is better to prevent waste than to treat or clean up waste after it is formed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.</a:t>
            </a: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>
            <a:off x="-1" y="1420882"/>
            <a:ext cx="1219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53C28BD-6B63-46FB-9BE1-6E17B8948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585" y="2417919"/>
            <a:ext cx="5196283" cy="349937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E65BDFB-04E5-44EF-AD70-A751F54F4D57}"/>
              </a:ext>
            </a:extLst>
          </p:cNvPr>
          <p:cNvSpPr txBox="1"/>
          <p:nvPr/>
        </p:nvSpPr>
        <p:spPr>
          <a:xfrm>
            <a:off x="3352798" y="6148481"/>
            <a:ext cx="548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sha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emical Company discharges waste water into the Cuyahoga r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National Archives and Records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643317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2404" y="240221"/>
            <a:ext cx="8259711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d Mud: Pollution and Accidents</a:t>
            </a:r>
          </a:p>
        </p:txBody>
      </p:sp>
      <p:pic>
        <p:nvPicPr>
          <p:cNvPr id="4" name="Picture 2" descr="https://upload.wikimedia.org/wikipedia/commons/c/c2/Luftaufnahmen_Nordseekueste_2012-05-by-RaBoe-47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4"/>
          <a:stretch/>
        </p:blipFill>
        <p:spPr bwMode="auto">
          <a:xfrm>
            <a:off x="660160" y="1496402"/>
            <a:ext cx="2882593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426785" y="3518226"/>
            <a:ext cx="1349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ade, German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40816" y="3538491"/>
            <a:ext cx="18834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/>
              <a:t>Kolontar</a:t>
            </a:r>
            <a:r>
              <a:rPr lang="en-US" sz="1400" dirty="0"/>
              <a:t>, Hungary</a:t>
            </a:r>
          </a:p>
        </p:txBody>
      </p:sp>
      <p:pic>
        <p:nvPicPr>
          <p:cNvPr id="3080" name="Picture 8" descr="http://cdn.theatlantic.com/static/infocus/sludge092811/s_s03_0801127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194"/>
          <a:stretch/>
        </p:blipFill>
        <p:spPr bwMode="auto">
          <a:xfrm>
            <a:off x="4397275" y="1496402"/>
            <a:ext cx="2880001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Figure 1: Noranda Alumina plant at Gramercy located between Mississippi River and Manchac Swamp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64" b="4702"/>
          <a:stretch/>
        </p:blipFill>
        <p:spPr bwMode="auto">
          <a:xfrm>
            <a:off x="660161" y="4028037"/>
            <a:ext cx="2882593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74178" y="6104044"/>
            <a:ext cx="30545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oranda Alumina plant at Gramercy - located alongside the Mississippi River</a:t>
            </a:r>
          </a:p>
        </p:txBody>
      </p:sp>
      <p:pic>
        <p:nvPicPr>
          <p:cNvPr id="3086" name="Picture 14" descr="Disposal_India (1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684" y="4028037"/>
            <a:ext cx="2882592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150739" y="6104044"/>
            <a:ext cx="15215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/>
              <a:t>Damandjodi</a:t>
            </a:r>
            <a:r>
              <a:rPr lang="en-US" sz="1400" dirty="0"/>
              <a:t>, Indi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4838" y="1111357"/>
            <a:ext cx="38136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he red mud is kept in reservoir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55B9D7-13BF-4D82-9250-5B50DC5D480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ight Arrow 7"/>
          <p:cNvSpPr/>
          <p:nvPr/>
        </p:nvSpPr>
        <p:spPr>
          <a:xfrm>
            <a:off x="7306084" y="2477974"/>
            <a:ext cx="314732" cy="36379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620817" y="1742838"/>
            <a:ext cx="4153842" cy="417960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fr-CA" dirty="0"/>
              <a:t>Oct. 4, 2010: A </a:t>
            </a:r>
            <a:r>
              <a:rPr lang="fr-CA" dirty="0" err="1"/>
              <a:t>hungarian</a:t>
            </a:r>
            <a:r>
              <a:rPr lang="fr-CA" dirty="0"/>
              <a:t> village, </a:t>
            </a:r>
            <a:r>
              <a:rPr lang="fr-CA" dirty="0" err="1"/>
              <a:t>Kolontar</a:t>
            </a:r>
            <a:r>
              <a:rPr lang="fr-CA" dirty="0"/>
              <a:t>, </a:t>
            </a:r>
            <a:r>
              <a:rPr lang="fr-CA" dirty="0" err="1"/>
              <a:t>is</a:t>
            </a:r>
            <a:r>
              <a:rPr lang="fr-CA" dirty="0"/>
              <a:t> </a:t>
            </a:r>
            <a:r>
              <a:rPr lang="fr-CA" dirty="0" err="1"/>
              <a:t>flooded</a:t>
            </a:r>
            <a:r>
              <a:rPr lang="fr-CA" dirty="0"/>
              <a:t> with </a:t>
            </a:r>
            <a:r>
              <a:rPr lang="fr-CA" dirty="0" err="1"/>
              <a:t>toxic</a:t>
            </a:r>
            <a:r>
              <a:rPr lang="fr-CA" dirty="0"/>
              <a:t> </a:t>
            </a:r>
            <a:r>
              <a:rPr lang="fr-CA" dirty="0" err="1"/>
              <a:t>red</a:t>
            </a:r>
            <a:r>
              <a:rPr lang="fr-CA" dirty="0"/>
              <a:t> </a:t>
            </a:r>
            <a:r>
              <a:rPr lang="fr-CA" dirty="0" err="1"/>
              <a:t>mud</a:t>
            </a:r>
            <a:r>
              <a:rPr lang="fr-CA" dirty="0"/>
              <a:t>.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one million cubic </a:t>
            </a:r>
            <a:r>
              <a:rPr lang="en-US" dirty="0" err="1"/>
              <a:t>metres</a:t>
            </a:r>
            <a:r>
              <a:rPr lang="en-US" dirty="0"/>
              <a:t> of red mu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en people died, and 150 people were injure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About 40 square </a:t>
            </a:r>
            <a:r>
              <a:rPr lang="en-US" dirty="0" err="1"/>
              <a:t>kilometres</a:t>
            </a:r>
            <a:r>
              <a:rPr lang="en-US" dirty="0"/>
              <a:t> (15 </a:t>
            </a:r>
            <a:r>
              <a:rPr lang="en-US" dirty="0" err="1"/>
              <a:t>sq</a:t>
            </a:r>
            <a:r>
              <a:rPr lang="en-US" dirty="0"/>
              <a:t> mi) of land affecte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3 days later the spill reached the </a:t>
            </a:r>
            <a:r>
              <a:rPr lang="en-US" dirty="0" err="1"/>
              <a:t>Danude</a:t>
            </a:r>
            <a:endParaRPr lang="en-US" dirty="0"/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he base is strong enough to kill plant and animal life, and to cause burns and damage to airways if the fumes are breathed.</a:t>
            </a:r>
          </a:p>
        </p:txBody>
      </p:sp>
    </p:spTree>
    <p:extLst>
      <p:ext uri="{BB962C8B-B14F-4D97-AF65-F5344CB8AC3E}">
        <p14:creationId xmlns:p14="http://schemas.microsoft.com/office/powerpoint/2010/main" val="3632021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126" y="1323659"/>
            <a:ext cx="9818782" cy="1829540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b="1" dirty="0">
                <a:latin typeface="+mn-lt"/>
              </a:rPr>
              <a:t>Pyrolysis of biomass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US" sz="1000" b="1" dirty="0"/>
          </a:p>
          <a:p>
            <a:pPr marL="0" indent="0">
              <a:lnSpc>
                <a:spcPct val="114000"/>
              </a:lnSpc>
              <a:buNone/>
            </a:pPr>
            <a:r>
              <a:rPr lang="en-US" sz="2000" dirty="0"/>
              <a:t>Pyrolysis of biomass (500°C) affords a mixture of solid, liquid and gas carbonaceous materials</a:t>
            </a:r>
          </a:p>
          <a:p>
            <a:pPr marL="0" indent="0">
              <a:lnSpc>
                <a:spcPct val="114000"/>
              </a:lnSpc>
              <a:buNone/>
            </a:pPr>
            <a:endParaRPr lang="en-US" b="1" dirty="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8162495" y="1489310"/>
            <a:ext cx="3411676" cy="39010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See class on renewable feedstock</a:t>
            </a:r>
            <a:endParaRPr lang="en-US" dirty="0"/>
          </a:p>
        </p:txBody>
      </p: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6077" y="5401390"/>
            <a:ext cx="1719263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3" descr="biopact_bio-oil_samp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4677" y="3271094"/>
            <a:ext cx="1189038" cy="203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4"/>
          <p:cNvSpPr txBox="1">
            <a:spLocks noChangeArrowheads="1"/>
          </p:cNvSpPr>
          <p:nvPr/>
        </p:nvSpPr>
        <p:spPr bwMode="auto">
          <a:xfrm>
            <a:off x="6378677" y="2656731"/>
            <a:ext cx="2133600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Gas (10-20 %)</a:t>
            </a: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Energy</a:t>
            </a:r>
          </a:p>
          <a:p>
            <a:pPr>
              <a:spcBef>
                <a:spcPct val="50000"/>
              </a:spcBef>
            </a:pPr>
            <a:endParaRPr lang="en-US" b="1" dirty="0">
              <a:solidFill>
                <a:schemeClr val="hlink"/>
              </a:solidFill>
            </a:endParaRPr>
          </a:p>
        </p:txBody>
      </p: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729264" y="2666515"/>
            <a:ext cx="1439863" cy="36671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/>
              <a:t>CO/H</a:t>
            </a:r>
            <a:r>
              <a:rPr lang="en-US" baseline="-25000" dirty="0"/>
              <a:t>2</a:t>
            </a:r>
            <a:r>
              <a:rPr lang="en-US" dirty="0"/>
              <a:t>/CO</a:t>
            </a:r>
            <a:r>
              <a:rPr lang="en-US" baseline="-25000" dirty="0"/>
              <a:t>2</a:t>
            </a:r>
            <a:endParaRPr lang="en-US" dirty="0"/>
          </a:p>
        </p:txBody>
      </p:sp>
      <p:pic>
        <p:nvPicPr>
          <p:cNvPr id="3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20877" y="301868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ight Arrow 33"/>
          <p:cNvSpPr/>
          <p:nvPr/>
        </p:nvSpPr>
        <p:spPr>
          <a:xfrm>
            <a:off x="3711677" y="3933080"/>
            <a:ext cx="914400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6378677" y="5628531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Bio-coal (15-20 %)</a:t>
            </a:r>
          </a:p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→ Soil improvemen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78677" y="3848944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 (60-75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Fue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635477" y="3399680"/>
            <a:ext cx="914400" cy="381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dirty="0"/>
              <a:t>500°C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8795175" y="3649290"/>
            <a:ext cx="2654710" cy="139149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dirty="0"/>
              <a:t>Further treatments are needed for fuel production =&gt; highly acidic (</a:t>
            </a:r>
            <a:r>
              <a:rPr lang="en-US" b="1" dirty="0"/>
              <a:t>pH 2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021332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35746" y="1338483"/>
            <a:ext cx="10746653" cy="4873625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fr-CA" sz="2400" dirty="0"/>
              <a:t>Prof. Marcel Schlaf, </a:t>
            </a:r>
            <a:r>
              <a:rPr lang="fr-CA" sz="2400" dirty="0" err="1"/>
              <a:t>University</a:t>
            </a:r>
            <a:r>
              <a:rPr lang="fr-CA" sz="2400" dirty="0"/>
              <a:t> of Guelph mixed the </a:t>
            </a:r>
            <a:r>
              <a:rPr lang="fr-CA" sz="2400" dirty="0" err="1"/>
              <a:t>two</a:t>
            </a:r>
            <a:r>
              <a:rPr lang="fr-CA" sz="2400" dirty="0"/>
              <a:t> </a:t>
            </a:r>
            <a:r>
              <a:rPr lang="fr-CA" sz="2400" dirty="0" err="1"/>
              <a:t>waste</a:t>
            </a:r>
            <a:r>
              <a:rPr lang="fr-CA" sz="2400" dirty="0"/>
              <a:t> </a:t>
            </a:r>
            <a:r>
              <a:rPr lang="fr-CA" sz="2400" dirty="0" err="1"/>
              <a:t>streams</a:t>
            </a:r>
            <a:endParaRPr lang="fr-CA" sz="24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Neutralization</a:t>
            </a:r>
            <a:r>
              <a:rPr lang="fr-CA" sz="2000" dirty="0"/>
              <a:t> </a:t>
            </a:r>
            <a:r>
              <a:rPr lang="fr-CA" sz="2000" dirty="0" err="1"/>
              <a:t>takes</a:t>
            </a:r>
            <a:r>
              <a:rPr lang="fr-CA" sz="2000" dirty="0"/>
              <a:t> place by </a:t>
            </a:r>
            <a:r>
              <a:rPr lang="fr-CA" sz="2000" dirty="0" err="1"/>
              <a:t>mixing</a:t>
            </a:r>
            <a:r>
              <a:rPr lang="fr-CA" sz="2000" dirty="0"/>
              <a:t> the </a:t>
            </a:r>
            <a:r>
              <a:rPr lang="fr-CA" sz="2000" dirty="0" err="1"/>
              <a:t>waste</a:t>
            </a:r>
            <a:r>
              <a:rPr lang="fr-CA" sz="2000" dirty="0"/>
              <a:t> </a:t>
            </a:r>
            <a:r>
              <a:rPr lang="fr-CA" sz="2000" dirty="0" err="1"/>
              <a:t>streams</a:t>
            </a:r>
            <a:r>
              <a:rPr lang="fr-CA" sz="2000" dirty="0"/>
              <a:t> </a:t>
            </a:r>
            <a:r>
              <a:rPr lang="fr-CA" sz="2000" dirty="0" err="1"/>
              <a:t>together</a:t>
            </a:r>
            <a:endParaRPr lang="fr-CA" sz="20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Metals</a:t>
            </a:r>
            <a:r>
              <a:rPr lang="fr-CA" sz="2000" dirty="0"/>
              <a:t> </a:t>
            </a:r>
            <a:r>
              <a:rPr lang="fr-CA" sz="2000" dirty="0" err="1"/>
              <a:t>present</a:t>
            </a:r>
            <a:r>
              <a:rPr lang="fr-CA" sz="2000" dirty="0"/>
              <a:t> in the </a:t>
            </a:r>
            <a:r>
              <a:rPr lang="fr-CA" sz="2000" dirty="0" err="1"/>
              <a:t>red</a:t>
            </a:r>
            <a:r>
              <a:rPr lang="fr-CA" sz="2000" dirty="0"/>
              <a:t> </a:t>
            </a:r>
            <a:r>
              <a:rPr lang="fr-CA" sz="2000" dirty="0" err="1"/>
              <a:t>mud</a:t>
            </a:r>
            <a:r>
              <a:rPr lang="fr-CA" sz="2000" dirty="0"/>
              <a:t> </a:t>
            </a:r>
            <a:r>
              <a:rPr lang="fr-CA" sz="2000" dirty="0" err="1"/>
              <a:t>catalyze</a:t>
            </a:r>
            <a:r>
              <a:rPr lang="fr-CA" sz="2000" dirty="0"/>
              <a:t> the </a:t>
            </a:r>
            <a:r>
              <a:rPr lang="fr-CA" sz="2000" dirty="0" err="1"/>
              <a:t>reduction</a:t>
            </a:r>
            <a:r>
              <a:rPr lang="fr-CA" sz="2000" dirty="0"/>
              <a:t> of the </a:t>
            </a:r>
            <a:r>
              <a:rPr lang="fr-CA" sz="2000" dirty="0" err="1"/>
              <a:t>biofuels</a:t>
            </a:r>
            <a:r>
              <a:rPr lang="fr-CA" sz="2000" dirty="0"/>
              <a:t> to </a:t>
            </a:r>
            <a:r>
              <a:rPr lang="fr-CA" sz="2000" dirty="0" err="1"/>
              <a:t>obtain</a:t>
            </a:r>
            <a:r>
              <a:rPr lang="fr-CA" sz="2000" dirty="0"/>
              <a:t> </a:t>
            </a:r>
            <a:r>
              <a:rPr lang="fr-CA" sz="2000" dirty="0" err="1"/>
              <a:t>higher</a:t>
            </a:r>
            <a:r>
              <a:rPr lang="fr-CA" sz="2000" dirty="0"/>
              <a:t> </a:t>
            </a:r>
            <a:r>
              <a:rPr lang="fr-CA" sz="2000" dirty="0" err="1"/>
              <a:t>quality</a:t>
            </a:r>
            <a:r>
              <a:rPr lang="fr-CA" sz="2000" dirty="0"/>
              <a:t> fuel</a:t>
            </a:r>
          </a:p>
          <a:p>
            <a:pPr lvl="2" eaLnBrk="1" hangingPunct="1">
              <a:lnSpc>
                <a:spcPct val="114000"/>
              </a:lnSpc>
            </a:pPr>
            <a:endParaRPr lang="fr-CA" dirty="0"/>
          </a:p>
          <a:p>
            <a:pPr lvl="2" eaLnBrk="1" hangingPunct="1">
              <a:lnSpc>
                <a:spcPct val="114000"/>
              </a:lnSpc>
            </a:pPr>
            <a:endParaRPr lang="fr-CA" dirty="0"/>
          </a:p>
        </p:txBody>
      </p:sp>
      <p:pic>
        <p:nvPicPr>
          <p:cNvPr id="120836" name="Picture 13" descr="biopact_bio-oil_sam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4902" y="2642419"/>
            <a:ext cx="1189038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7" name="Picture 3" descr="P6220045"/>
          <p:cNvPicPr>
            <a:picLocks noChangeAspect="1" noChangeArrowheads="1"/>
          </p:cNvPicPr>
          <p:nvPr/>
        </p:nvPicPr>
        <p:blipFill>
          <a:blip r:embed="rId4" cstate="print"/>
          <a:srcRect l="7407" t="19281" r="46297" b="24652"/>
          <a:stretch>
            <a:fillRect/>
          </a:stretch>
        </p:blipFill>
        <p:spPr bwMode="auto">
          <a:xfrm>
            <a:off x="3292576" y="2642419"/>
            <a:ext cx="2149052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3" descr="P6220045"/>
          <p:cNvPicPr>
            <a:picLocks noChangeAspect="1" noChangeArrowheads="1"/>
          </p:cNvPicPr>
          <p:nvPr/>
        </p:nvPicPr>
        <p:blipFill>
          <a:blip r:embed="rId5" cstate="print"/>
          <a:srcRect l="51852" t="19281" r="4974" b="24652"/>
          <a:stretch>
            <a:fillRect/>
          </a:stretch>
        </p:blipFill>
        <p:spPr bwMode="auto">
          <a:xfrm>
            <a:off x="9573213" y="2597816"/>
            <a:ext cx="2215483" cy="213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Plus 20"/>
          <p:cNvSpPr/>
          <p:nvPr/>
        </p:nvSpPr>
        <p:spPr>
          <a:xfrm>
            <a:off x="2317953" y="3460955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5608638" y="3571567"/>
            <a:ext cx="1051626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0841" name="Picture 10" descr="C:\Users\Audrey Moores\AppData\Local\Microsoft\Windows\Temporary Internet Files\Content.IE5\5ILAVHPR\MC900155503[1].wm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48400" y="3796707"/>
            <a:ext cx="2566988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Plus 25"/>
          <p:cNvSpPr/>
          <p:nvPr/>
        </p:nvSpPr>
        <p:spPr>
          <a:xfrm>
            <a:off x="8472488" y="3460955"/>
            <a:ext cx="838200" cy="838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00664" y="4753898"/>
            <a:ext cx="20574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: </a:t>
            </a:r>
            <a:r>
              <a:rPr lang="en-US" b="1" dirty="0" err="1">
                <a:solidFill>
                  <a:schemeClr val="hlink"/>
                </a:solidFill>
                <a:latin typeface="Century Schoolbook" pitchFamily="18" charset="0"/>
              </a:rPr>
              <a:t>biowaste</a:t>
            </a:r>
            <a:endParaRPr lang="en-US" b="1" dirty="0">
              <a:solidFill>
                <a:schemeClr val="hlink"/>
              </a:solidFill>
              <a:latin typeface="Century Schoolbook" pitchFamily="18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301178" y="4758879"/>
            <a:ext cx="2133600" cy="6413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Red mud: industrial wast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435371" y="5047566"/>
            <a:ext cx="1219200" cy="3667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003F75"/>
                </a:solidFill>
                <a:latin typeface="Century Schoolbook" pitchFamily="18" charset="0"/>
              </a:rPr>
              <a:t>Fuel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 </a:t>
            </a:r>
          </a:p>
        </p:txBody>
      </p:sp>
      <p:sp>
        <p:nvSpPr>
          <p:cNvPr id="120846" name="Text Box 5"/>
          <p:cNvSpPr txBox="1">
            <a:spLocks noChangeArrowheads="1"/>
          </p:cNvSpPr>
          <p:nvPr/>
        </p:nvSpPr>
        <p:spPr bwMode="auto">
          <a:xfrm>
            <a:off x="2514601" y="6605252"/>
            <a:ext cx="712787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/>
              <a:t>Karimi, E.; Gomez, A.; Kycia, S. W.; Schlaf, M. </a:t>
            </a:r>
            <a:r>
              <a:rPr lang="en-US" sz="1200" i="1"/>
              <a:t>Energy &amp; Fuels</a:t>
            </a:r>
            <a:r>
              <a:rPr lang="en-US" sz="1200"/>
              <a:t> </a:t>
            </a:r>
            <a:r>
              <a:rPr lang="en-US" sz="1200" b="1"/>
              <a:t>2010</a:t>
            </a:r>
            <a:r>
              <a:rPr lang="en-US" sz="1200"/>
              <a:t>, </a:t>
            </a:r>
            <a:r>
              <a:rPr lang="en-US" sz="1200" i="1"/>
              <a:t>24</a:t>
            </a:r>
            <a:r>
              <a:rPr lang="en-US" sz="1200"/>
              <a:t>, 2747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873494" y="4889337"/>
            <a:ext cx="1905000" cy="14652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latin typeface="Century Schoolbook" pitchFamily="18" charset="0"/>
              </a:rPr>
              <a:t>Neutral, magnetic powder could be used to make cement.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60551" y="541938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2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3752065" y="541627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14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808405" y="3080082"/>
            <a:ext cx="439995" cy="3992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r>
              <a:rPr lang="en-US" baseline="-25000" dirty="0"/>
              <a:t>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05583" y="6096003"/>
            <a:ext cx="20574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C sour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979174" y="6050549"/>
            <a:ext cx="27137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Source of metals for catalytic reduction 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3786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57283" y="1189294"/>
            <a:ext cx="9645085" cy="2246004"/>
          </a:xfrm>
        </p:spPr>
        <p:txBody>
          <a:bodyPr/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CA" sz="1800" dirty="0"/>
              <a:t>Robin Rogers and </a:t>
            </a:r>
            <a:r>
              <a:rPr lang="en-US" sz="1800" dirty="0"/>
              <a:t>Mari Signum Mid-Atlantic, LLC, are commercializing </a:t>
            </a:r>
            <a:r>
              <a:rPr lang="en-US" sz="1800" b="1" dirty="0"/>
              <a:t>a safe, environmentally friendly, low energy-demanding</a:t>
            </a:r>
            <a:r>
              <a:rPr lang="en-US" sz="1800" dirty="0"/>
              <a:t> and overall less costly process to produce chitin from seafood waste. 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US" sz="1800" dirty="0"/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1800" b="1" dirty="0"/>
              <a:t>Chitin is used in </a:t>
            </a:r>
            <a:r>
              <a:rPr lang="en-US" sz="1800" dirty="0"/>
              <a:t>a variety of applications, </a:t>
            </a:r>
            <a:r>
              <a:rPr lang="en-US" sz="1800" b="1" dirty="0"/>
              <a:t>such as food processing, biodegradable plastics and biomedical applications.</a:t>
            </a:r>
            <a:r>
              <a:rPr lang="en-US" sz="1800" dirty="0"/>
              <a:t> </a:t>
            </a:r>
            <a:endParaRPr lang="en-CA" dirty="0"/>
          </a:p>
          <a:p>
            <a:pPr marL="914400" lvl="2" indent="0" eaLnBrk="1" hangingPunct="1">
              <a:lnSpc>
                <a:spcPct val="114000"/>
              </a:lnSpc>
              <a:spcBef>
                <a:spcPts val="0"/>
              </a:spcBef>
              <a:buNone/>
            </a:pPr>
            <a:endParaRPr lang="en-CA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307690" y="362821"/>
            <a:ext cx="9350478" cy="541174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Extracting chitin with an ionic liqui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5006" y="2206014"/>
            <a:ext cx="2998840" cy="200172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080091" y="4232581"/>
            <a:ext cx="30037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r. Connelly (ACS), Robin Rogers, Julia Shamshina and John Keyes (awardees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36" y="170016"/>
            <a:ext cx="1569110" cy="18161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8658" y="6325765"/>
            <a:ext cx="120346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s://communities.acs.org/community/science/sustainability/green-chemistry-nexus-blog/blog/2018/10/18/american-chemical-society-announces-2018-green-chemistry-challenge-award-winner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639" y="4685461"/>
            <a:ext cx="2123728" cy="12530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717" y="4246680"/>
            <a:ext cx="1018241" cy="101824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5416107" y="5949832"/>
            <a:ext cx="16822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chitin</a:t>
            </a:r>
          </a:p>
        </p:txBody>
      </p:sp>
      <p:grpSp>
        <p:nvGrpSpPr>
          <p:cNvPr id="34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8945" y="4516810"/>
            <a:ext cx="1136642" cy="1392770"/>
            <a:chOff x="2010927" y="2232917"/>
            <a:chExt cx="2370877" cy="2905125"/>
          </a:xfrm>
          <a:solidFill>
            <a:srgbClr val="FFC000"/>
          </a:solidFill>
        </p:grpSpPr>
        <p:sp>
          <p:nvSpPr>
            <p:cNvPr id="35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6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783504" y="5947648"/>
            <a:ext cx="11366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rgbClr val="FFC000"/>
                </a:solidFill>
              </a:rPr>
              <a:t>Ionic liquid</a:t>
            </a:r>
          </a:p>
        </p:txBody>
      </p:sp>
      <p:sp>
        <p:nvSpPr>
          <p:cNvPr id="7" name="Curved Down Arrow 6"/>
          <p:cNvSpPr/>
          <p:nvPr/>
        </p:nvSpPr>
        <p:spPr>
          <a:xfrm>
            <a:off x="1976284" y="4048477"/>
            <a:ext cx="1230982" cy="370538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3824019" y="5194581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100641" y="5179026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840" y="4696514"/>
            <a:ext cx="1608633" cy="160863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C0F4554-5B79-A548-AAC6-D4A813ADC471}"/>
              </a:ext>
            </a:extLst>
          </p:cNvPr>
          <p:cNvSpPr/>
          <p:nvPr/>
        </p:nvSpPr>
        <p:spPr>
          <a:xfrm>
            <a:off x="145640" y="2907557"/>
            <a:ext cx="885028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/>
              <a:t>Conventional</a:t>
            </a:r>
            <a:r>
              <a:rPr lang="en-CA" dirty="0"/>
              <a:t> process to manufacture Chitin – Demineralization of Shells using </a:t>
            </a:r>
            <a:r>
              <a:rPr lang="en-CA" b="1" dirty="0" err="1"/>
              <a:t>HCl</a:t>
            </a:r>
            <a:r>
              <a:rPr lang="en-CA" b="1" dirty="0"/>
              <a:t> in huge quantity of water</a:t>
            </a:r>
            <a:r>
              <a:rPr lang="en-CA" dirty="0"/>
              <a:t>, then </a:t>
            </a:r>
            <a:r>
              <a:rPr lang="en-CA" b="1" dirty="0"/>
              <a:t>treating</a:t>
            </a:r>
            <a:r>
              <a:rPr lang="en-CA" dirty="0"/>
              <a:t> demineralized shells </a:t>
            </a:r>
            <a:r>
              <a:rPr lang="en-CA" b="1" dirty="0"/>
              <a:t>with </a:t>
            </a:r>
            <a:r>
              <a:rPr lang="en-CA" b="1" dirty="0" err="1"/>
              <a:t>NaOH</a:t>
            </a:r>
            <a:r>
              <a:rPr lang="en-CA" b="1" dirty="0"/>
              <a:t> </a:t>
            </a:r>
            <a:r>
              <a:rPr lang="en-CA" dirty="0"/>
              <a:t>solution to extract all the proteins. The Chitin/deproteinized shells are removed &amp; dried. Huge quantity of </a:t>
            </a:r>
            <a:r>
              <a:rPr lang="en-CA" dirty="0" err="1"/>
              <a:t>HCl</a:t>
            </a:r>
            <a:r>
              <a:rPr lang="en-CA" dirty="0"/>
              <a:t> and </a:t>
            </a:r>
            <a:r>
              <a:rPr lang="en-CA" dirty="0" err="1"/>
              <a:t>NaOH</a:t>
            </a:r>
            <a:r>
              <a:rPr lang="en-CA" dirty="0"/>
              <a:t> containing wastes. Chitin obtained still not of very high purity.</a:t>
            </a:r>
          </a:p>
        </p:txBody>
      </p:sp>
    </p:spTree>
    <p:extLst>
      <p:ext uri="{BB962C8B-B14F-4D97-AF65-F5344CB8AC3E}">
        <p14:creationId xmlns:p14="http://schemas.microsoft.com/office/powerpoint/2010/main" val="28064127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26" y="210339"/>
            <a:ext cx="575954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Biodegrade the Wast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207220" y="1678168"/>
            <a:ext cx="9990667" cy="2887201"/>
          </a:xfr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Biodegradation - "A process by which microbial organisms transform or alter (through metabolic or enzymatic action) the structure of chemicals introduced into the environment." – US EPA, 2009</a:t>
            </a:r>
          </a:p>
          <a:p>
            <a:pPr marL="0" indent="0">
              <a:lnSpc>
                <a:spcPct val="114000"/>
              </a:lnSpc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“Ready” biodegradability – remove 70% of dissolved organic carbon AND achieve 60% theoretical oxygen demand or CO</a:t>
            </a:r>
            <a:r>
              <a:rPr lang="en-US" sz="2300" baseline="-25000" dirty="0">
                <a:latin typeface="+mn-lt"/>
              </a:rPr>
              <a:t>2</a:t>
            </a:r>
            <a:r>
              <a:rPr lang="en-US" sz="2300" dirty="0">
                <a:latin typeface="+mn-lt"/>
              </a:rPr>
              <a:t> production within a 10-day window in a 28-day test. – OECD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6CCEFE-AD2D-4D8F-ABF3-9A9100E8399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4582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186" y="273277"/>
            <a:ext cx="868562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Versus 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629494"/>
            <a:ext cx="10515600" cy="1319528"/>
          </a:xfrm>
        </p:spPr>
        <p:txBody>
          <a:bodyPr>
            <a:spAutoFit/>
          </a:bodyPr>
          <a:lstStyle/>
          <a:p>
            <a:pPr marL="0" indent="0" algn="ctr">
              <a:lnSpc>
                <a:spcPct val="114000"/>
              </a:lnSpc>
              <a:buNone/>
            </a:pPr>
            <a:r>
              <a:rPr lang="en-US" sz="3600" dirty="0">
                <a:latin typeface="+mn-lt"/>
              </a:rPr>
              <a:t>Difference in oxygen supply, organism types, and products form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34ADF-08A3-455E-80E8-52EAFA10ACC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8517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437" y="287227"/>
            <a:ext cx="4979126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3288" y="1883146"/>
            <a:ext cx="10007986" cy="2644763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Needs a constant supply of oxygen, pH adjustments, and mixing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yproducts: heat, CO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, and H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O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Frequently used by water treatment plants or in composting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B58E6F-8881-415E-8F12-147D33ED162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024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5100" y="272809"/>
            <a:ext cx="6781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3243" y="1966855"/>
            <a:ext cx="9859558" cy="2439579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 in the absence of oxygen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Common in fermentation and landfill; produces biogas consisting of methane, ammonia, hydrogen sulfide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iogas is considered a renewable energy</a:t>
            </a:r>
            <a:r>
              <a:rPr lang="en-US" dirty="0"/>
              <a:t>.</a:t>
            </a:r>
            <a:endParaRPr lang="en-US" baseline="-250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8577D52-60BA-4B8D-90D7-3AA8DA7FDC1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5411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3900" y="271420"/>
            <a:ext cx="82042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Digestion versus Chemical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5152" y="1684945"/>
            <a:ext cx="10359679" cy="4052007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Not all chemicals will biodegrade at the same rate (think plastic vs paper)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 rate of biodegradation depends on the microorganism, but also a chemical structure of the molecule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Some parts of the molecule are known to be more biodegradable than the others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re is a publically available software that analyses the chemical structure and predicts whether the molecule will degrade slower (days) or slower (months, years)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052EDB-F98E-4C27-B338-E7B67AA4DA0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38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247B0-451E-C648-9CA8-58787A9C9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1742"/>
            <a:ext cx="11606561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Some chemical structures favor biodegrad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92F7F6-C64D-5147-B306-E698D88A5A2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9A5121C-ECE1-5749-9521-D2DE082C4A48}"/>
              </a:ext>
            </a:extLst>
          </p:cNvPr>
          <p:cNvSpPr txBox="1"/>
          <p:nvPr/>
        </p:nvSpPr>
        <p:spPr>
          <a:xfrm>
            <a:off x="1224265" y="1744933"/>
            <a:ext cx="258410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  <a:p>
            <a:r>
              <a:rPr lang="en-US" dirty="0"/>
              <a:t>-    Low molecular we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9C4B22-EAB1-3C4D-A149-4266BAFCC5A9}"/>
              </a:ext>
            </a:extLst>
          </p:cNvPr>
          <p:cNvSpPr txBox="1"/>
          <p:nvPr/>
        </p:nvSpPr>
        <p:spPr>
          <a:xfrm>
            <a:off x="1224265" y="3899369"/>
            <a:ext cx="41343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  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  (F, Cl)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9B65E9-4907-E740-A2EF-0CAC73DD6B56}"/>
              </a:ext>
            </a:extLst>
          </p:cNvPr>
          <p:cNvSpPr txBox="1"/>
          <p:nvPr/>
        </p:nvSpPr>
        <p:spPr>
          <a:xfrm>
            <a:off x="7281733" y="1248369"/>
            <a:ext cx="1892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Poorly degraded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445F2C6-2228-434A-B32A-5A39AB52D75B}"/>
              </a:ext>
            </a:extLst>
          </p:cNvPr>
          <p:cNvCxnSpPr>
            <a:stCxn id="15" idx="2"/>
            <a:endCxn id="17" idx="0"/>
          </p:cNvCxnSpPr>
          <p:nvPr/>
        </p:nvCxnSpPr>
        <p:spPr>
          <a:xfrm>
            <a:off x="8228082" y="1648479"/>
            <a:ext cx="46808" cy="44842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C8B5FFE-BAC8-1147-B651-90B6FE2F6BFD}"/>
              </a:ext>
            </a:extLst>
          </p:cNvPr>
          <p:cNvSpPr txBox="1"/>
          <p:nvPr/>
        </p:nvSpPr>
        <p:spPr>
          <a:xfrm>
            <a:off x="7281733" y="6132750"/>
            <a:ext cx="19863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adily degrade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1B68AA7-24E5-2146-A882-EFFEFD95E7F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684677" y="1156169"/>
          <a:ext cx="1553928" cy="54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3928">
                  <a:extLst>
                    <a:ext uri="{9D8B030D-6E8A-4147-A177-3AD203B41FA5}">
                      <a16:colId xmlns:a16="http://schemas.microsoft.com/office/drawing/2014/main" val="1126716246"/>
                    </a:ext>
                  </a:extLst>
                </a:gridCol>
              </a:tblGrid>
              <a:tr h="28076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39567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Tertiary am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403437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N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4271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591211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yrid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270943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50845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804484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B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29984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ket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62292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nitr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03452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59161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heny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75308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1845524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68889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32176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809776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dehy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57461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E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678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71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356486" y="1598066"/>
            <a:ext cx="8969201" cy="3443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254887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</p:spTree>
    <p:extLst>
      <p:ext uri="{BB962C8B-B14F-4D97-AF65-F5344CB8AC3E}">
        <p14:creationId xmlns:p14="http://schemas.microsoft.com/office/powerpoint/2010/main" val="13707783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7275" y="163262"/>
            <a:ext cx="9817449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Predicting Biodegradation: EPA, </a:t>
            </a:r>
            <a:r>
              <a:rPr lang="en-US" sz="4000" b="1" dirty="0" err="1">
                <a:latin typeface="+mn-lt"/>
              </a:rPr>
              <a:t>EPISuite</a:t>
            </a:r>
            <a:endParaRPr lang="en-US" sz="4000" b="1" dirty="0"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33466" y="6060509"/>
            <a:ext cx="7325066" cy="75713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+mn-lt"/>
              </a:rPr>
              <a:t>EPI = Estimation Programs Interface http://www.epa.gov/oppt/exposure/pubs/episuitedl.ht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7275" y="1259522"/>
            <a:ext cx="9801628" cy="4800987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27B86F-A0C9-4BC4-9B02-47C4DD21460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39246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6025" y="124300"/>
            <a:ext cx="7219950" cy="990015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BIOWIN Models Based on Molecular Fragment Contrib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1063" y="1236318"/>
            <a:ext cx="10515600" cy="1195840"/>
          </a:xfr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erobic degradation models</a:t>
            </a:r>
          </a:p>
          <a:p>
            <a:pPr marL="457200" lvl="1" indent="0">
              <a:lnSpc>
                <a:spcPct val="115000"/>
              </a:lnSpc>
              <a:spcBef>
                <a:spcPts val="0"/>
              </a:spcBef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naerobic degradation mod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7CFC1-8F03-47A1-8360-986CDC186F9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54C0879-D1D9-B942-AC13-C1966827BA9D}"/>
              </a:ext>
            </a:extLst>
          </p:cNvPr>
          <p:cNvSpPr/>
          <p:nvPr/>
        </p:nvSpPr>
        <p:spPr>
          <a:xfrm>
            <a:off x="1168245" y="4682354"/>
            <a:ext cx="9931161" cy="1739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9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The program analyses the chemical structure of each molecule within the group, and assesses its biodegradation potential based on the molecule fragment and functional groups. The result is presented as a probability for degradation. If the number is greater or equal to 0.5, then the molecule will degrade faster. In contrast, values less than 0.5 indicate persistence and low biodegradation potential.</a:t>
            </a:r>
            <a:r>
              <a:rPr lang="en-US" sz="19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C6DBB2-95E5-3843-A988-166D82FF83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32671" y="2828986"/>
            <a:ext cx="7725936" cy="167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077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4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</p:spTree>
    <p:extLst>
      <p:ext uri="{BB962C8B-B14F-4D97-AF65-F5344CB8AC3E}">
        <p14:creationId xmlns:p14="http://schemas.microsoft.com/office/powerpoint/2010/main" val="66816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539209" y="4109077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2&gt;4&gt;3&gt;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55427" y="3895766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051698" y="388874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8553429" y="5371872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1&gt;2&gt;3&gt;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53452" y="514189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049723" y="514189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DE5B1C-1EE3-1B40-A219-325D9F77B013}"/>
              </a:ext>
            </a:extLst>
          </p:cNvPr>
          <p:cNvSpPr txBox="1"/>
          <p:nvPr/>
        </p:nvSpPr>
        <p:spPr>
          <a:xfrm>
            <a:off x="3471620" y="136385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4468</a:t>
            </a:r>
          </a:p>
          <a:p>
            <a:r>
              <a:rPr lang="en-US" sz="1600" dirty="0"/>
              <a:t>Anaerobic: -0.190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D3B7D6-566F-7548-8A83-29F50B8FB353}"/>
              </a:ext>
            </a:extLst>
          </p:cNvPr>
          <p:cNvSpPr txBox="1"/>
          <p:nvPr/>
        </p:nvSpPr>
        <p:spPr>
          <a:xfrm>
            <a:off x="3611105" y="21852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677</a:t>
            </a:r>
          </a:p>
          <a:p>
            <a:r>
              <a:rPr lang="en-US" sz="1600" dirty="0"/>
              <a:t>Anaerobic: -0.309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5E72CE-286D-D146-AE02-E473FD71AEC8}"/>
              </a:ext>
            </a:extLst>
          </p:cNvPr>
          <p:cNvSpPr txBox="1"/>
          <p:nvPr/>
        </p:nvSpPr>
        <p:spPr>
          <a:xfrm>
            <a:off x="3642104" y="3053166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213</a:t>
            </a:r>
          </a:p>
          <a:p>
            <a:r>
              <a:rPr lang="en-US" sz="1600" dirty="0"/>
              <a:t>Anaerobic: -0.4999</a:t>
            </a:r>
          </a:p>
          <a:p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322A85-8C92-4A4A-86E5-12434405C349}"/>
              </a:ext>
            </a:extLst>
          </p:cNvPr>
          <p:cNvSpPr txBox="1"/>
          <p:nvPr/>
        </p:nvSpPr>
        <p:spPr>
          <a:xfrm>
            <a:off x="3704096" y="4045059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102</a:t>
            </a:r>
          </a:p>
          <a:p>
            <a:r>
              <a:rPr lang="en-US" sz="1600" dirty="0"/>
              <a:t>Anaerobic: 0.909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9778DE-FCAA-F441-8804-A924ACC87A1C}"/>
              </a:ext>
            </a:extLst>
          </p:cNvPr>
          <p:cNvSpPr txBox="1"/>
          <p:nvPr/>
        </p:nvSpPr>
        <p:spPr>
          <a:xfrm>
            <a:off x="3719593" y="5052454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-2.9547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0483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</p:spTree>
    <p:extLst>
      <p:ext uri="{BB962C8B-B14F-4D97-AF65-F5344CB8AC3E}">
        <p14:creationId xmlns:p14="http://schemas.microsoft.com/office/powerpoint/2010/main" val="29913707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6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1" name="Left Bracket 10"/>
          <p:cNvSpPr/>
          <p:nvPr/>
        </p:nvSpPr>
        <p:spPr>
          <a:xfrm flipH="1">
            <a:off x="4467821" y="2044627"/>
            <a:ext cx="463138" cy="326571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930959" y="3058684"/>
            <a:ext cx="19713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or biodegradation due to high MW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8714048" y="4349740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6&gt;3&gt;4&gt;2&gt;5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68762" y="406660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77910" y="406660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14048" y="5561814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&gt;2&gt;4=5&gt;3&gt;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168762" y="5292432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189618" y="529243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A181E6-ADA3-0346-8126-EA5502859D21}"/>
              </a:ext>
            </a:extLst>
          </p:cNvPr>
          <p:cNvSpPr txBox="1"/>
          <p:nvPr/>
        </p:nvSpPr>
        <p:spPr>
          <a:xfrm>
            <a:off x="3234088" y="13335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1559</a:t>
            </a:r>
          </a:p>
          <a:p>
            <a:r>
              <a:rPr lang="en-US" sz="1600" dirty="0"/>
              <a:t>Anaerobic: -0.259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096B26-E2C2-504B-B557-7BC06CF8CA77}"/>
              </a:ext>
            </a:extLst>
          </p:cNvPr>
          <p:cNvSpPr txBox="1"/>
          <p:nvPr/>
        </p:nvSpPr>
        <p:spPr>
          <a:xfrm>
            <a:off x="3238620" y="2135405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177F36-6E4C-D244-ACA9-DF0F40F932F9}"/>
              </a:ext>
            </a:extLst>
          </p:cNvPr>
          <p:cNvSpPr txBox="1"/>
          <p:nvPr/>
        </p:nvSpPr>
        <p:spPr>
          <a:xfrm>
            <a:off x="3234087" y="3057784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9</a:t>
            </a:r>
          </a:p>
          <a:p>
            <a:r>
              <a:rPr lang="en-US" sz="1600" dirty="0"/>
              <a:t>Anaerobic: -1.486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8440C9-04DE-5B49-9897-22F5BB9D1384}"/>
              </a:ext>
            </a:extLst>
          </p:cNvPr>
          <p:cNvSpPr txBox="1"/>
          <p:nvPr/>
        </p:nvSpPr>
        <p:spPr>
          <a:xfrm>
            <a:off x="3265345" y="3902181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51</a:t>
            </a:r>
          </a:p>
          <a:p>
            <a:r>
              <a:rPr lang="en-US" sz="1600" dirty="0"/>
              <a:t>Anaerobic: 0.1224</a:t>
            </a:r>
          </a:p>
          <a:p>
            <a:endParaRPr lang="en-US" sz="16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10077C6-3E54-7646-B7A0-E019134AB4E8}"/>
              </a:ext>
            </a:extLst>
          </p:cNvPr>
          <p:cNvSpPr txBox="1"/>
          <p:nvPr/>
        </p:nvSpPr>
        <p:spPr>
          <a:xfrm>
            <a:off x="3270500" y="4729372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C8B4AC-F6FF-B141-9157-9747159D1CC2}"/>
              </a:ext>
            </a:extLst>
          </p:cNvPr>
          <p:cNvSpPr txBox="1"/>
          <p:nvPr/>
        </p:nvSpPr>
        <p:spPr>
          <a:xfrm>
            <a:off x="3265345" y="55666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594</a:t>
            </a:r>
          </a:p>
          <a:p>
            <a:r>
              <a:rPr lang="en-US" sz="1600" dirty="0"/>
              <a:t>Anaerobic: 0.2341</a:t>
            </a:r>
          </a:p>
        </p:txBody>
      </p:sp>
    </p:spTree>
    <p:extLst>
      <p:ext uri="{BB962C8B-B14F-4D97-AF65-F5344CB8AC3E}">
        <p14:creationId xmlns:p14="http://schemas.microsoft.com/office/powerpoint/2010/main" val="30220335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0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51303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198940" y="4417416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4&gt;2&gt;3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29420" y="414514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95234" y="4145149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198940" y="5537645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2&gt;4&gt;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29420" y="527155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693259" y="527155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5407388"/>
              </p:ext>
            </p:extLst>
          </p:nvPr>
        </p:nvGraphicFramePr>
        <p:xfrm>
          <a:off x="1489541" y="1075124"/>
          <a:ext cx="2432050" cy="53215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4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32151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D78BDD5-4B9D-6546-9454-0CB3EAAA2A8A}"/>
              </a:ext>
            </a:extLst>
          </p:cNvPr>
          <p:cNvSpPr txBox="1"/>
          <p:nvPr/>
        </p:nvSpPr>
        <p:spPr>
          <a:xfrm>
            <a:off x="3781591" y="1301858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9355</a:t>
            </a:r>
          </a:p>
          <a:p>
            <a:r>
              <a:rPr lang="en-US" sz="1600" dirty="0"/>
              <a:t>Anaerobic: 0.367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7127BA-811E-2D49-9D3E-9C525BEBA535}"/>
              </a:ext>
            </a:extLst>
          </p:cNvPr>
          <p:cNvSpPr txBox="1"/>
          <p:nvPr/>
        </p:nvSpPr>
        <p:spPr>
          <a:xfrm>
            <a:off x="3766097" y="2309248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892</a:t>
            </a:r>
          </a:p>
          <a:p>
            <a:r>
              <a:rPr lang="en-US" sz="1600" dirty="0"/>
              <a:t>Anaerobic: -0.227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549EA90-CB2D-9747-8F68-D451FC216CE3}"/>
              </a:ext>
            </a:extLst>
          </p:cNvPr>
          <p:cNvSpPr txBox="1"/>
          <p:nvPr/>
        </p:nvSpPr>
        <p:spPr>
          <a:xfrm>
            <a:off x="3797090" y="3394129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3258</a:t>
            </a:r>
          </a:p>
          <a:p>
            <a:r>
              <a:rPr lang="en-US" sz="1600" dirty="0"/>
              <a:t>Anaerobic: -1.2826</a:t>
            </a:r>
          </a:p>
          <a:p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88B52D-FEC3-1347-BF9E-4E7211A4E8D6}"/>
              </a:ext>
            </a:extLst>
          </p:cNvPr>
          <p:cNvSpPr txBox="1"/>
          <p:nvPr/>
        </p:nvSpPr>
        <p:spPr>
          <a:xfrm>
            <a:off x="3797090" y="4556502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960</a:t>
            </a:r>
          </a:p>
          <a:p>
            <a:r>
              <a:rPr lang="en-US" sz="1600" dirty="0"/>
              <a:t>Anaerobic: -0.2469</a:t>
            </a:r>
          </a:p>
          <a:p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EC7A67-77DC-5D4A-B725-94FFB5AD8AA6}"/>
              </a:ext>
            </a:extLst>
          </p:cNvPr>
          <p:cNvSpPr txBox="1"/>
          <p:nvPr/>
        </p:nvSpPr>
        <p:spPr>
          <a:xfrm>
            <a:off x="4091557" y="58118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2626</a:t>
            </a:r>
          </a:p>
          <a:p>
            <a:r>
              <a:rPr lang="en-US" sz="1600" dirty="0"/>
              <a:t>Anaerobic: 0.141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3DE350F-7FE9-424B-B379-E6B31DBDB64E}"/>
              </a:ext>
            </a:extLst>
          </p:cNvPr>
          <p:cNvSpPr/>
          <p:nvPr/>
        </p:nvSpPr>
        <p:spPr>
          <a:xfrm>
            <a:off x="646176" y="5222789"/>
            <a:ext cx="5315712" cy="1495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6895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FC55E8-C7FE-C24A-8894-1F2D1AC689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926" y="0"/>
            <a:ext cx="54281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92615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0920" y="219126"/>
            <a:ext cx="597016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Design for Biodegradation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3925" y="2112773"/>
            <a:ext cx="10344150" cy="1434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600" dirty="0"/>
              <a:t>Since we know the chemical moieties, functional groups, and types of bonds which make the molecule biodegradable, can we build-in biodegradability into chemical products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31284" y="3999141"/>
            <a:ext cx="1262269" cy="8863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4800" dirty="0">
                <a:solidFill>
                  <a:srgbClr val="00B050"/>
                </a:solidFill>
              </a:rPr>
              <a:t>YES!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3644EF-8334-4DA5-82C5-77F03E3BE910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44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2650" y="61914"/>
            <a:ext cx="7886700" cy="1089529"/>
          </a:xfrm>
        </p:spPr>
        <p:txBody>
          <a:bodyPr>
            <a:spAutoFit/>
          </a:bodyPr>
          <a:lstStyle/>
          <a:p>
            <a:pPr marL="355600" algn="ctr"/>
            <a:r>
              <a:rPr lang="en-US" sz="3600" b="1" dirty="0">
                <a:latin typeface="+mn-lt"/>
              </a:rPr>
              <a:t>Waste treatment pyramid: The 4 </a:t>
            </a:r>
            <a:r>
              <a:rPr lang="en-US" sz="3600" b="1" dirty="0" err="1">
                <a:latin typeface="+mn-lt"/>
              </a:rPr>
              <a:t>Rs</a:t>
            </a:r>
            <a:br>
              <a:rPr lang="en-US" sz="3600" b="1" dirty="0">
                <a:latin typeface="+mn-lt"/>
              </a:rPr>
            </a:br>
            <a:r>
              <a:rPr lang="en-US" sz="3600" b="1" dirty="0">
                <a:latin typeface="+mn-lt"/>
              </a:rPr>
              <a:t>Reduce, Reuse, Recycle, Recover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79884" y="2159844"/>
            <a:ext cx="7554775" cy="4108609"/>
            <a:chOff x="-50178" y="1668231"/>
            <a:chExt cx="7835870" cy="4185458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2135205554"/>
                </p:ext>
              </p:extLst>
            </p:nvPr>
          </p:nvGraphicFramePr>
          <p:xfrm>
            <a:off x="1689692" y="1668231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5" name="Up-Down Arrow 4"/>
            <p:cNvSpPr/>
            <p:nvPr/>
          </p:nvSpPr>
          <p:spPr>
            <a:xfrm>
              <a:off x="1048218" y="1668231"/>
              <a:ext cx="423746" cy="4064001"/>
            </a:xfrm>
            <a:prstGeom prst="upDownArrow">
              <a:avLst/>
            </a:prstGeom>
            <a:gradFill flip="none" rotWithShape="1">
              <a:gsLst>
                <a:gs pos="0">
                  <a:srgbClr val="C00000"/>
                </a:gs>
                <a:gs pos="45000">
                  <a:schemeClr val="accent4"/>
                </a:gs>
                <a:gs pos="10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Regular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39026" y="1672919"/>
              <a:ext cx="1293542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Most favored option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-50178" y="4858195"/>
              <a:ext cx="1304693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Least favored option</a:t>
              </a:r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CECEC876-D218-4046-8693-ECC3F804671D}"/>
              </a:ext>
            </a:extLst>
          </p:cNvPr>
          <p:cNvSpPr txBox="1"/>
          <p:nvPr/>
        </p:nvSpPr>
        <p:spPr>
          <a:xfrm>
            <a:off x="5323288" y="1674208"/>
            <a:ext cx="1545424" cy="461665"/>
          </a:xfrm>
          <a:prstGeom prst="rect">
            <a:avLst/>
          </a:prstGeom>
          <a:noFill/>
          <a:ln w="19050">
            <a:solidFill>
              <a:srgbClr val="70AD47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Prevention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DB3897E3-1384-411D-A562-3B4EBA7289CD}"/>
              </a:ext>
            </a:extLst>
          </p:cNvPr>
          <p:cNvGrpSpPr/>
          <p:nvPr/>
        </p:nvGrpSpPr>
        <p:grpSpPr>
          <a:xfrm>
            <a:off x="7600950" y="4082494"/>
            <a:ext cx="2834214" cy="1833386"/>
            <a:chOff x="5739043" y="3748666"/>
            <a:chExt cx="2834214" cy="1833386"/>
          </a:xfrm>
        </p:grpSpPr>
        <p:grpSp>
          <p:nvGrpSpPr>
            <p:cNvPr id="13" name="Group 12"/>
            <p:cNvGrpSpPr/>
            <p:nvPr/>
          </p:nvGrpSpPr>
          <p:grpSpPr>
            <a:xfrm>
              <a:off x="6950200" y="3748666"/>
              <a:ext cx="1623057" cy="1833386"/>
              <a:chOff x="7431350" y="3747193"/>
              <a:chExt cx="1749910" cy="197667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633681" y="4609710"/>
                <a:ext cx="1547579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Incineration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166409" y="5292488"/>
                <a:ext cx="1014851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Landfill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31350" y="3747193"/>
                <a:ext cx="1241534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Recycling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431350" y="4127364"/>
                <a:ext cx="1540597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Composting</a:t>
                </a:r>
              </a:p>
            </p:txBody>
          </p:sp>
        </p:grpSp>
        <p:sp>
          <p:nvSpPr>
            <p:cNvPr id="16" name="Chave Esquerda 15">
              <a:extLst>
                <a:ext uri="{FF2B5EF4-FFF2-40B4-BE49-F238E27FC236}">
                  <a16:creationId xmlns:a16="http://schemas.microsoft.com/office/drawing/2014/main" id="{F6F9EC33-29A3-4BFC-A99B-80F543DD274F}"/>
                </a:ext>
              </a:extLst>
            </p:cNvPr>
            <p:cNvSpPr/>
            <p:nvPr/>
          </p:nvSpPr>
          <p:spPr>
            <a:xfrm>
              <a:off x="6826288" y="3786740"/>
              <a:ext cx="173063" cy="657098"/>
            </a:xfrm>
            <a:prstGeom prst="leftBrace">
              <a:avLst>
                <a:gd name="adj1" fmla="val 79831"/>
                <a:gd name="adj2" fmla="val 50000"/>
              </a:avLst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A1F6F73E-1702-49D1-8731-8026CB9CD6DB}"/>
                </a:ext>
              </a:extLst>
            </p:cNvPr>
            <p:cNvCxnSpPr>
              <a:cxnSpLocks/>
            </p:cNvCxnSpPr>
            <p:nvPr/>
          </p:nvCxnSpPr>
          <p:spPr>
            <a:xfrm>
              <a:off x="5739043" y="4101278"/>
              <a:ext cx="1013388" cy="13495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01247C47-D9CA-42E2-A56A-D79D6C8C90EF}"/>
                </a:ext>
              </a:extLst>
            </p:cNvPr>
            <p:cNvCxnSpPr>
              <a:cxnSpLocks/>
            </p:cNvCxnSpPr>
            <p:nvPr/>
          </p:nvCxnSpPr>
          <p:spPr>
            <a:xfrm>
              <a:off x="6184106" y="4756150"/>
              <a:ext cx="102914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E2BBEC2F-AC48-4EBA-BE47-68B2FB579547}"/>
                </a:ext>
              </a:extLst>
            </p:cNvPr>
            <p:cNvCxnSpPr>
              <a:cxnSpLocks/>
            </p:cNvCxnSpPr>
            <p:nvPr/>
          </p:nvCxnSpPr>
          <p:spPr>
            <a:xfrm>
              <a:off x="6752431" y="5381799"/>
              <a:ext cx="927894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/>
        </p:nvSpPr>
        <p:spPr>
          <a:xfrm>
            <a:off x="8094087" y="1558609"/>
            <a:ext cx="3412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e need various types of technology to reduce and reuse waste.</a:t>
            </a:r>
          </a:p>
          <a:p>
            <a:endParaRPr lang="en-US" sz="2000" dirty="0"/>
          </a:p>
          <a:p>
            <a:r>
              <a:rPr lang="en-US" sz="2000" dirty="0"/>
              <a:t>Ultimately, the production of waste should be prevented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77E1828-2328-4252-B5FB-EEE730641B2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7077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05501" y="230317"/>
            <a:ext cx="4580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lasticizers</a:t>
            </a:r>
          </a:p>
        </p:txBody>
      </p:sp>
      <p:pic>
        <p:nvPicPr>
          <p:cNvPr id="4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86"/>
          <a:stretch/>
        </p:blipFill>
        <p:spPr bwMode="auto">
          <a:xfrm>
            <a:off x="413657" y="2432843"/>
            <a:ext cx="3707812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4964210" y="1805474"/>
            <a:ext cx="190173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0000"/>
                </a:solidFill>
              </a:rPr>
              <a:t>kills bacteria,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biodegradation halts</a:t>
            </a:r>
          </a:p>
        </p:txBody>
      </p:sp>
      <p:sp>
        <p:nvSpPr>
          <p:cNvPr id="9" name="TextBox 10"/>
          <p:cNvSpPr txBox="1">
            <a:spLocks noChangeArrowheads="1"/>
          </p:cNvSpPr>
          <p:nvPr/>
        </p:nvSpPr>
        <p:spPr bwMode="auto">
          <a:xfrm>
            <a:off x="3828254" y="5239620"/>
            <a:ext cx="35829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dirty="0">
                <a:solidFill>
                  <a:srgbClr val="00B050"/>
                </a:solidFill>
              </a:rPr>
              <a:t>complete degradation to CO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 + H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O</a:t>
            </a:r>
          </a:p>
        </p:txBody>
      </p:sp>
      <p:pic>
        <p:nvPicPr>
          <p:cNvPr id="11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73"/>
          <a:stretch/>
        </p:blipFill>
        <p:spPr bwMode="auto">
          <a:xfrm>
            <a:off x="4120241" y="2395877"/>
            <a:ext cx="4013327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201"/>
          <a:stretch/>
        </p:blipFill>
        <p:spPr bwMode="auto">
          <a:xfrm>
            <a:off x="399143" y="4291694"/>
            <a:ext cx="2593796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31" b="26077"/>
          <a:stretch/>
        </p:blipFill>
        <p:spPr bwMode="auto">
          <a:xfrm>
            <a:off x="3335960" y="4539994"/>
            <a:ext cx="2741630" cy="699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737"/>
          <a:stretch/>
        </p:blipFill>
        <p:spPr bwMode="auto">
          <a:xfrm>
            <a:off x="5373005" y="4544941"/>
            <a:ext cx="3049859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Arrow Connector 14"/>
          <p:cNvCxnSpPr/>
          <p:nvPr/>
        </p:nvCxnSpPr>
        <p:spPr>
          <a:xfrm>
            <a:off x="3889241" y="2972520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089962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5619748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471983" y="1877281"/>
            <a:ext cx="4283761" cy="417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Plasticizers are additives in plastic applications. Almost 90% of </a:t>
            </a:r>
            <a:r>
              <a:rPr lang="en-US" b="1" dirty="0"/>
              <a:t>plasticizers</a:t>
            </a:r>
            <a:r>
              <a:rPr lang="en-US" dirty="0"/>
              <a:t> are used in PVC, giving this material improved flexibility and durability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Di-propylene glycol </a:t>
            </a:r>
            <a:r>
              <a:rPr lang="en-US" dirty="0" err="1"/>
              <a:t>dibenzoate</a:t>
            </a:r>
            <a:r>
              <a:rPr lang="en-US" dirty="0"/>
              <a:t> decomposes into a product which is toxic to bacteria, and therefore stops the biodegradation proces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ith slightly changed structure, 1,5-pentanediol </a:t>
            </a:r>
            <a:r>
              <a:rPr lang="en-US" dirty="0" err="1"/>
              <a:t>dibenzoate</a:t>
            </a:r>
            <a:r>
              <a:rPr lang="en-US" dirty="0"/>
              <a:t> biodegrades into CO</a:t>
            </a:r>
            <a:r>
              <a:rPr lang="en-US" baseline="-25000" dirty="0"/>
              <a:t>2</a:t>
            </a:r>
            <a:r>
              <a:rPr lang="en-US" dirty="0"/>
              <a:t> and H</a:t>
            </a:r>
            <a:r>
              <a:rPr lang="en-US" baseline="-25000" dirty="0"/>
              <a:t>2</a:t>
            </a:r>
            <a:r>
              <a:rPr lang="en-US" dirty="0"/>
              <a:t>O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6A984F-9F62-4A1D-B28C-28B6CFA7D00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158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17968" y="222974"/>
            <a:ext cx="43560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esticid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403" y="1585358"/>
            <a:ext cx="2184174" cy="12560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46389" y="2979512"/>
            <a:ext cx="579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47000" y="1538073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DDT – Dichlorodiphenyltrichloroethane, which was used as agricultural pesticide, is persistent in the environm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Not only does it bioaccumulates, but it undergoes a reaction to DDE which is even more toxic than DDT.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005233" y="2213377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039" y="1608515"/>
            <a:ext cx="2680607" cy="137099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703405" y="3244951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" y="3963408"/>
            <a:ext cx="3083532" cy="174171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19063" y="6053465"/>
            <a:ext cx="1474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957462" y="4834265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747000" y="4149781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Methoxychlor</a:t>
            </a:r>
            <a:r>
              <a:rPr lang="en-US" dirty="0"/>
              <a:t> shares many insecticidal properties as DDT and it’s potency, but it is not persist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degrades into </a:t>
            </a:r>
            <a:r>
              <a:rPr lang="en-US" dirty="0" err="1"/>
              <a:t>methoxychlor</a:t>
            </a:r>
            <a:r>
              <a:rPr lang="en-US" dirty="0"/>
              <a:t> phenol, which has also low toxicity and it is easily excreted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477" y="4174773"/>
            <a:ext cx="2971800" cy="168910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958948" y="6227636"/>
            <a:ext cx="2196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pheno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43163" y="3201562"/>
            <a:ext cx="1818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low degrad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55127" y="5491757"/>
            <a:ext cx="1747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Fast degrada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CECFD1-E82B-45FF-B6CB-6F0DDD85B89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38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679837" y="2174650"/>
            <a:ext cx="3917419" cy="2600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etrapropylene</a:t>
            </a:r>
            <a:r>
              <a:rPr lang="en-US" dirty="0"/>
              <a:t> alkylbenzene sulfonate (TPPS) was used as a surfactant for laundry detergents and accumulated into the water supply due to incomplete degradation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ater tended to foam when coming out of the tap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03769" y="219000"/>
            <a:ext cx="45844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Detergen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95185" y="5677816"/>
            <a:ext cx="9401627" cy="705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TPPS was replaced by linear alkylbenzene sulfonate (LAS).</a:t>
            </a:r>
          </a:p>
          <a:p>
            <a:pPr>
              <a:lnSpc>
                <a:spcPct val="114000"/>
              </a:lnSpc>
            </a:pPr>
            <a:r>
              <a:rPr lang="en-US" dirty="0"/>
              <a:t>Replacing the methyl branched chain of TPPS by a linear carbon chain reduces the </a:t>
            </a:r>
            <a:r>
              <a:rPr lang="en-US" dirty="0" err="1"/>
              <a:t>biopersistence</a:t>
            </a:r>
            <a:r>
              <a:rPr lang="en-US" dirty="0"/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11506" y="2105659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9514" y="4262932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55D7CD-9246-49C4-A220-34187C55F20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3EE76105-A4B5-42DC-B8D1-7E6F50DD607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6363882"/>
              </p:ext>
            </p:extLst>
          </p:nvPr>
        </p:nvGraphicFramePr>
        <p:xfrm>
          <a:off x="1145646" y="1433215"/>
          <a:ext cx="3917420" cy="4057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" name="CS ChemDraw Drawing" r:id="rId3" imgW="2619629" imgH="2713788" progId="ChemDraw.Document.6.0">
                  <p:embed/>
                </p:oleObj>
              </mc:Choice>
              <mc:Fallback>
                <p:oleObj name="CS ChemDraw Drawing" r:id="rId3" imgW="2619629" imgH="271378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5646" y="1433215"/>
                        <a:ext cx="3917420" cy="4057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238772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982" y="1605132"/>
            <a:ext cx="3897462" cy="20177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496" y="4603085"/>
            <a:ext cx="3627122" cy="1665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810812" y="1685636"/>
            <a:ext cx="4865914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riclosan</a:t>
            </a:r>
            <a:r>
              <a:rPr lang="en-US" dirty="0"/>
              <a:t> is an antibacterial and antifungal agent found in some consumer products, including toothpaste, soaps, detergents, toys, and surgical cleaning treatment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persists in the environmen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01934" y="227722"/>
            <a:ext cx="69881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Antibacterial Produc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24880" y="4478687"/>
            <a:ext cx="4865914" cy="1653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Chlorophene</a:t>
            </a:r>
            <a:r>
              <a:rPr lang="en-US" dirty="0"/>
              <a:t> is a </a:t>
            </a:r>
            <a:r>
              <a:rPr lang="en-US" dirty="0" err="1"/>
              <a:t>bacteriocide</a:t>
            </a:r>
            <a:r>
              <a:rPr lang="en-US" dirty="0"/>
              <a:t> and fungicide in cosmetic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is very biodegradable in the media and entirely removeable from the waste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7F6841-C817-4D4D-BC8C-46DA2935C0A7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78747" y="2388733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755" y="5078115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</p:spTree>
    <p:extLst>
      <p:ext uri="{BB962C8B-B14F-4D97-AF65-F5344CB8AC3E}">
        <p14:creationId xmlns:p14="http://schemas.microsoft.com/office/powerpoint/2010/main" val="135158036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233360" y="1705370"/>
            <a:ext cx="8853177" cy="3781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pproaches to deal with Environmental Challenges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357" y="240818"/>
            <a:ext cx="33593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</p:spTree>
    <p:extLst>
      <p:ext uri="{BB962C8B-B14F-4D97-AF65-F5344CB8AC3E}">
        <p14:creationId xmlns:p14="http://schemas.microsoft.com/office/powerpoint/2010/main" val="143057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8651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347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B38E7D-B866-3841-B4F7-8CB5ED868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59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9600" y="276732"/>
            <a:ext cx="3352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Landfi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0224" y="3623343"/>
            <a:ext cx="5032572" cy="2893677"/>
          </a:xfrm>
        </p:spPr>
        <p:txBody>
          <a:bodyPr wrap="square">
            <a:spAutoFit/>
          </a:bodyPr>
          <a:lstStyle/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Consolidated material is buried with mud and other sealing agents to enable chemical, bacteriological, and physical degradation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Semi-anaerobic conditions lead to production of methane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If captured, landfill gas (methane) from decomposing garbage can be used to produce electricity, heat, and fuels.</a:t>
            </a:r>
          </a:p>
        </p:txBody>
      </p:sp>
      <p:graphicFrame>
        <p:nvGraphicFramePr>
          <p:cNvPr id="10" name="Diagram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2069774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13"/>
          <p:cNvSpPr/>
          <p:nvPr/>
        </p:nvSpPr>
        <p:spPr>
          <a:xfrm>
            <a:off x="7283189" y="2981819"/>
            <a:ext cx="500743" cy="468086"/>
          </a:xfrm>
          <a:prstGeom prst="striped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/>
          <a:srcRect l="2871" t="4314" r="3815" b="2208"/>
          <a:stretch/>
        </p:blipFill>
        <p:spPr>
          <a:xfrm>
            <a:off x="200416" y="1599876"/>
            <a:ext cx="6513535" cy="471324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A21D36-7A48-4AC2-A5C7-8A230B03A40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6700E81-3DF4-084D-AC58-7CC65382E470}"/>
              </a:ext>
            </a:extLst>
          </p:cNvPr>
          <p:cNvSpPr/>
          <p:nvPr/>
        </p:nvSpPr>
        <p:spPr>
          <a:xfrm>
            <a:off x="1128884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67144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771" y="227928"/>
            <a:ext cx="565445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Incine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5235" y="1511950"/>
            <a:ext cx="6610404" cy="4594078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Thermal decomposition of wastes through Combustion (in presence of oxygen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Better than landfills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>
                <a:latin typeface="+mn-lt"/>
              </a:rPr>
              <a:t>Reduces solid waste mass by 95 - 96%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Converts wastes in to: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Heat – (Use: electricity, steam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>
                <a:latin typeface="+mn-lt"/>
              </a:rPr>
              <a:t>Flue Gas – (Use: indirect heating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Ash – (cement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Disadvantage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Releases gases such as CO2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Emits hazardous end product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No recycling possible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585639" y="2625378"/>
            <a:ext cx="500743" cy="468086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63AB80-0171-4FA3-85E9-6BB74398CE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8743849"/>
              </p:ext>
            </p:extLst>
          </p:nvPr>
        </p:nvGraphicFramePr>
        <p:xfrm>
          <a:off x="785166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142B3C-6781-4C3B-9BFA-928F755E44B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3FD71B1-F76E-40C4-B5EB-FDF63B977F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66557" y="3821524"/>
            <a:ext cx="4543865" cy="24193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C2F40B-31E7-6741-BA82-660297C32AA0}"/>
              </a:ext>
            </a:extLst>
          </p:cNvPr>
          <p:cNvSpPr/>
          <p:nvPr/>
        </p:nvSpPr>
        <p:spPr>
          <a:xfrm>
            <a:off x="9378104" y="6322068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39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80210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87509" y="2258860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3091797"/>
              </p:ext>
            </p:extLst>
          </p:nvPr>
        </p:nvGraphicFramePr>
        <p:xfrm>
          <a:off x="7994954" y="127580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DCC0D63-5AD1-E14A-993F-1CCEB9DF0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2939" y="1360858"/>
            <a:ext cx="7184796" cy="5230856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>
                <a:latin typeface="+mn-lt"/>
              </a:rPr>
              <a:t>Gasification: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Converts organic based materials into CO, H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Achieved by reacting the material at high temperatures (&gt;700 °C), without combustion, with a controlled amount of oxygen and/or steam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The resulting gas mixture is called syngas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Syngas is combustible and often used as a fuel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endParaRPr lang="en-US" sz="1000" dirty="0"/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/>
              <a:t>Pyrolysis: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rmal decomposition at </a:t>
            </a:r>
            <a:r>
              <a:rPr lang="hu-HU" sz="1900" dirty="0"/>
              <a:t>200</a:t>
            </a:r>
            <a:r>
              <a:rPr lang="en-US" sz="1900" dirty="0"/>
              <a:t>-</a:t>
            </a:r>
            <a:r>
              <a:rPr lang="hu-HU" sz="1900" dirty="0"/>
              <a:t>300°C </a:t>
            </a:r>
            <a:r>
              <a:rPr lang="en-US" sz="1900" dirty="0"/>
              <a:t>occurring in the absence of oxygen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Precursor of both the combustion and gasification processes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 products of biomass pyrolysis include biochar, bio-oil, and gases - such as methane, hydrogen, carbon monoxide, and carbon dioxide.</a:t>
            </a:r>
          </a:p>
        </p:txBody>
      </p:sp>
    </p:spTree>
    <p:extLst>
      <p:ext uri="{BB962C8B-B14F-4D97-AF65-F5344CB8AC3E}">
        <p14:creationId xmlns:p14="http://schemas.microsoft.com/office/powerpoint/2010/main" val="2329009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94278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31237" y="2244792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64456" y="2712878"/>
            <a:ext cx="6727372" cy="2603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>
                <a:latin typeface="+mn-lt"/>
              </a:rPr>
              <a:t>Composting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Organics undergo a biological decomposition to form a material (compost) that is non-toxic to plant growth. 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By-product of </a:t>
            </a:r>
            <a:r>
              <a:rPr lang="en-US" sz="2000" dirty="0">
                <a:latin typeface="+mn-lt"/>
              </a:rPr>
              <a:t>the reaction are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, water and heat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endParaRPr lang="en-US" sz="2000" dirty="0">
              <a:latin typeface="+mn-lt"/>
            </a:endParaRPr>
          </a:p>
          <a:p>
            <a:pPr marL="0" indent="0">
              <a:lnSpc>
                <a:spcPct val="114000"/>
              </a:lnSpc>
              <a:buNone/>
            </a:pPr>
            <a:r>
              <a:rPr lang="en-US" sz="2000" dirty="0">
                <a:latin typeface="+mn-lt"/>
              </a:rPr>
              <a:t>.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8919261"/>
              </p:ext>
            </p:extLst>
          </p:nvPr>
        </p:nvGraphicFramePr>
        <p:xfrm>
          <a:off x="7952748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585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0" y="231068"/>
            <a:ext cx="5791200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use &amp; Recycle</a:t>
            </a:r>
          </a:p>
        </p:txBody>
      </p:sp>
      <p:sp>
        <p:nvSpPr>
          <p:cNvPr id="6" name="Striped Right Arrow 5"/>
          <p:cNvSpPr/>
          <p:nvPr/>
        </p:nvSpPr>
        <p:spPr>
          <a:xfrm>
            <a:off x="8464493" y="2222628"/>
            <a:ext cx="481323" cy="468086"/>
          </a:xfrm>
          <a:prstGeom prst="stripedRight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B60D04D-999E-4E3F-9789-F27CC2DC98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8272812"/>
              </p:ext>
            </p:extLst>
          </p:nvPr>
        </p:nvGraphicFramePr>
        <p:xfrm>
          <a:off x="8422436" y="1185563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045B39-DB5B-B645-98A4-74F17CA72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3972" y="1375449"/>
            <a:ext cx="10259487" cy="2054999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/>
              <a:t>Reuse </a:t>
            </a:r>
            <a:r>
              <a:rPr lang="en-US" sz="2600"/>
              <a:t>and Recycle</a:t>
            </a:r>
            <a:endParaRPr lang="en-US" sz="2600" dirty="0"/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Converting waste materials into new materials and object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Available for metals, plastic, paper, glas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E.g. PET reuse and repurpos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4A97F2-9A0C-5B48-B5B9-D9963F0DB0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881" y="3248044"/>
            <a:ext cx="6383369" cy="30853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89D11-D615-EA42-9B8F-DC226145C43A}"/>
              </a:ext>
            </a:extLst>
          </p:cNvPr>
          <p:cNvSpPr txBox="1"/>
          <p:nvPr/>
        </p:nvSpPr>
        <p:spPr>
          <a:xfrm>
            <a:off x="1178740" y="6570660"/>
            <a:ext cx="10005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://</a:t>
            </a:r>
            <a:r>
              <a:rPr lang="en-US" sz="1200" dirty="0" err="1"/>
              <a:t>www.packagingtoday.co.uk</a:t>
            </a:r>
            <a:r>
              <a:rPr lang="en-US" sz="1200" dirty="0"/>
              <a:t>/news/newsgermans-recycle-more-and-more-effectively-success-in-pet-bottle-recycling-according-to-study-5699219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205362" y="6084033"/>
            <a:ext cx="4340670" cy="484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+mn-lt"/>
              </a:rPr>
              <a:t>Cost-benefit of recycling: energy savings</a:t>
            </a:r>
          </a:p>
        </p:txBody>
      </p:sp>
      <p:graphicFrame>
        <p:nvGraphicFramePr>
          <p:cNvPr id="1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653067"/>
              </p:ext>
            </p:extLst>
          </p:nvPr>
        </p:nvGraphicFramePr>
        <p:xfrm>
          <a:off x="7839725" y="3488428"/>
          <a:ext cx="312896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4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Mate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Energy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Alumin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Cardbo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G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5-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la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Ste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066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46</TotalTime>
  <Words>2946</Words>
  <Application>Microsoft Macintosh PowerPoint</Application>
  <PresentationFormat>Widescreen</PresentationFormat>
  <Paragraphs>569</Paragraphs>
  <Slides>4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6" baseType="lpstr">
      <vt:lpstr>MS Mincho</vt:lpstr>
      <vt:lpstr>ＭＳ Ｐゴシック</vt:lpstr>
      <vt:lpstr>Arial</vt:lpstr>
      <vt:lpstr>Calibri</vt:lpstr>
      <vt:lpstr>Calibri Light</vt:lpstr>
      <vt:lpstr>Calibri Regular</vt:lpstr>
      <vt:lpstr>Century Schoolbook</vt:lpstr>
      <vt:lpstr>Times</vt:lpstr>
      <vt:lpstr>Times New Roman</vt:lpstr>
      <vt:lpstr>Office Theme</vt:lpstr>
      <vt:lpstr>CS ChemDraw Drawing</vt:lpstr>
      <vt:lpstr>Yale-UNIDO Train-the-Facilitator Workshop in Green Chemistry</vt:lpstr>
      <vt:lpstr>PowerPoint Presentation</vt:lpstr>
      <vt:lpstr>PowerPoint Presentation</vt:lpstr>
      <vt:lpstr>Waste treatment pyramid: The 4 Rs Reduce, Reuse, Recycle, Recover</vt:lpstr>
      <vt:lpstr>Landfills</vt:lpstr>
      <vt:lpstr>Incineration</vt:lpstr>
      <vt:lpstr>Recycling and Composting</vt:lpstr>
      <vt:lpstr>Recycling and Composting</vt:lpstr>
      <vt:lpstr>Reuse &amp; Recycle</vt:lpstr>
      <vt:lpstr>The Reduction and Elimination of Waste</vt:lpstr>
      <vt:lpstr>PowerPoint Presentation</vt:lpstr>
      <vt:lpstr>Utilizing Waste as a Feedstock – Industrial Ecology</vt:lpstr>
      <vt:lpstr>Utilizing Waste as a Feedstock – Industrial Ecology</vt:lpstr>
      <vt:lpstr>Example: Used oils as biofuel source</vt:lpstr>
      <vt:lpstr>Glycerol: a waste of biodiesel</vt:lpstr>
      <vt:lpstr>Production and Applications of Lactic Acid- Conventional process</vt:lpstr>
      <vt:lpstr>Electrocatalytic Oxidation of Glycerol</vt:lpstr>
      <vt:lpstr>Water Electrolysis with Earth Abundant Metal Catalyst</vt:lpstr>
      <vt:lpstr>Example: Neutralization of Red Mud through generation of biofuels</vt:lpstr>
      <vt:lpstr>Red Mud: Pollution and Accidents</vt:lpstr>
      <vt:lpstr>Example: Neutralization of Red Mud through generation of biofuels</vt:lpstr>
      <vt:lpstr>Example: Neutralization of Red Mud through generation of biofuels</vt:lpstr>
      <vt:lpstr>Example: Extracting chitin with an ionic liquid</vt:lpstr>
      <vt:lpstr>Biodegrade the Waste</vt:lpstr>
      <vt:lpstr>Aerobic Versus Anaerobic Digestion</vt:lpstr>
      <vt:lpstr>Aerobic Digestion</vt:lpstr>
      <vt:lpstr>Anaerobic Digestion</vt:lpstr>
      <vt:lpstr>Digestion versus Chemical Structure</vt:lpstr>
      <vt:lpstr>Some chemical structures favor biodegradation</vt:lpstr>
      <vt:lpstr>Predicting Biodegradation: EPA, EPISuite</vt:lpstr>
      <vt:lpstr>BIOWIN Models Based on Molecular Fragment Contrib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Mellor, Karolina</cp:lastModifiedBy>
  <cp:revision>331</cp:revision>
  <dcterms:created xsi:type="dcterms:W3CDTF">2018-01-20T18:10:52Z</dcterms:created>
  <dcterms:modified xsi:type="dcterms:W3CDTF">2019-04-08T11:49:17Z</dcterms:modified>
</cp:coreProperties>
</file>